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258" r:id="rId5"/>
    <p:sldId id="338" r:id="rId6"/>
    <p:sldId id="362" r:id="rId7"/>
    <p:sldId id="341" r:id="rId8"/>
    <p:sldId id="359" r:id="rId9"/>
    <p:sldId id="354" r:id="rId10"/>
    <p:sldId id="334" r:id="rId11"/>
    <p:sldId id="356" r:id="rId12"/>
    <p:sldId id="363" r:id="rId13"/>
    <p:sldId id="380" r:id="rId14"/>
    <p:sldId id="381" r:id="rId15"/>
    <p:sldId id="349" r:id="rId16"/>
    <p:sldId id="309" r:id="rId17"/>
    <p:sldId id="343" r:id="rId18"/>
    <p:sldId id="369" r:id="rId19"/>
    <p:sldId id="370" r:id="rId20"/>
    <p:sldId id="339" r:id="rId21"/>
    <p:sldId id="382" r:id="rId22"/>
  </p:sldIdLst>
  <p:sldSz cx="9906000" cy="6858000" type="A4"/>
  <p:notesSz cx="6662738" cy="9906000"/>
  <p:custDataLst>
    <p:tags r:id="rId25"/>
  </p:custDataLst>
  <p:defaultTextStyle>
    <a:defPPr>
      <a:defRPr lang="en-GB"/>
    </a:defPPr>
    <a:lvl1pPr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0000CC"/>
    <a:srgbClr val="009999"/>
    <a:srgbClr val="008080"/>
    <a:srgbClr val="2D97A5"/>
    <a:srgbClr val="FFCC99"/>
    <a:srgbClr val="CCFFCC"/>
    <a:srgbClr val="CCCCFF"/>
    <a:srgbClr val="CCFF99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淺色樣式 2 - 輔色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0A1B5D5-9B99-4C35-A422-299274C87663}" styleName="中等深淺樣式 1 - 輔色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中等深淺樣式 2 - 輔色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中等深淺樣式 2 - 輔色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96" autoAdjust="0"/>
    <p:restoredTop sz="99069" autoAdjust="0"/>
  </p:normalViewPr>
  <p:slideViewPr>
    <p:cSldViewPr snapToGrid="0" snapToObjects="1" showGuides="1">
      <p:cViewPr>
        <p:scale>
          <a:sx n="120" d="100"/>
          <a:sy n="120" d="100"/>
        </p:scale>
        <p:origin x="-1230" y="72"/>
      </p:cViewPr>
      <p:guideLst>
        <p:guide orient="horz" pos="2160"/>
        <p:guide pos="58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71" d="100"/>
          <a:sy n="71" d="100"/>
        </p:scale>
        <p:origin x="-3048" y="-96"/>
      </p:cViewPr>
      <p:guideLst>
        <p:guide orient="horz" pos="3120"/>
        <p:guide pos="20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l" defTabSz="911225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5075" y="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r" defTabSz="911225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070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l" defTabSz="911225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5075" y="941070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r" defTabSz="911225">
              <a:spcBef>
                <a:spcPct val="0"/>
              </a:spcBef>
              <a:defRPr sz="1200" b="1"/>
            </a:lvl1pPr>
          </a:lstStyle>
          <a:p>
            <a:fld id="{13A2AEDD-AD55-49C8-838F-E55756FFD25D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42687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6713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>
            <a:lvl1pPr algn="l" defTabSz="895350">
              <a:spcBef>
                <a:spcPct val="0"/>
              </a:spcBef>
              <a:defRPr sz="1200" b="1"/>
            </a:lvl1pPr>
          </a:lstStyle>
          <a:p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9838" y="0"/>
            <a:ext cx="2906712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>
            <a:lvl1pPr algn="r" defTabSz="895350">
              <a:spcBef>
                <a:spcPct val="0"/>
              </a:spcBef>
              <a:defRPr sz="1200" b="1"/>
            </a:lvl1pPr>
          </a:lstStyle>
          <a:p>
            <a:endParaRPr lang="en-US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08013" y="731838"/>
            <a:ext cx="5400675" cy="3740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73125" y="4716463"/>
            <a:ext cx="4868863" cy="4471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0671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b" anchorCtr="0" compatLnSpc="1">
            <a:prstTxWarp prst="textNoShape">
              <a:avLst/>
            </a:prstTxWarp>
          </a:bodyPr>
          <a:lstStyle>
            <a:lvl1pPr algn="l" defTabSz="895350">
              <a:spcBef>
                <a:spcPct val="0"/>
              </a:spcBef>
              <a:defRPr sz="1200" b="1"/>
            </a:lvl1pPr>
          </a:lstStyle>
          <a:p>
            <a:endParaRPr lang="en-US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9838" y="9431338"/>
            <a:ext cx="2906712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b" anchorCtr="0" compatLnSpc="1">
            <a:prstTxWarp prst="textNoShape">
              <a:avLst/>
            </a:prstTxWarp>
          </a:bodyPr>
          <a:lstStyle>
            <a:lvl1pPr algn="r" defTabSz="895350">
              <a:spcBef>
                <a:spcPct val="0"/>
              </a:spcBef>
              <a:defRPr sz="1200" b="1"/>
            </a:lvl1pPr>
          </a:lstStyle>
          <a:p>
            <a:fld id="{5CA7C1A6-3F6E-4A0C-A01A-2F04D27288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6221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324577-A7F4-4E1A-BA81-064FF7DE7259}" type="slidenum">
              <a:rPr lang="en-US" smtClean="0"/>
              <a:pPr/>
              <a:t>0</a:t>
            </a:fld>
            <a:endParaRPr lang="en-US"/>
          </a:p>
        </p:txBody>
      </p:sp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08013" y="731838"/>
            <a:ext cx="5400675" cy="3740150"/>
          </a:xfrm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A7C1A6-3F6E-4A0C-A01A-2F04D27288E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121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A7C1A6-3F6E-4A0C-A01A-2F04D27288E6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882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3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0" y="5886450"/>
            <a:ext cx="1668198" cy="666750"/>
          </a:xfrm>
        </p:spPr>
        <p:txBody>
          <a:bodyPr wrap="square" anchor="ctr"/>
          <a:lstStyle>
            <a:lvl1pPr algn="ctr">
              <a:defRPr sz="1400" b="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sp>
        <p:nvSpPr>
          <p:cNvPr id="4" name="Rectangle 57"/>
          <p:cNvSpPr>
            <a:spLocks noChangeArrowheads="1"/>
          </p:cNvSpPr>
          <p:nvPr userDrawn="1"/>
        </p:nvSpPr>
        <p:spPr bwMode="auto">
          <a:xfrm>
            <a:off x="1" y="0"/>
            <a:ext cx="9906000" cy="4495800"/>
          </a:xfrm>
          <a:prstGeom prst="rect">
            <a:avLst/>
          </a:prstGeom>
          <a:solidFill>
            <a:srgbClr val="007167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7" name="Rectangle 58"/>
          <p:cNvSpPr>
            <a:spLocks noChangeArrowheads="1"/>
          </p:cNvSpPr>
          <p:nvPr userDrawn="1"/>
        </p:nvSpPr>
        <p:spPr bwMode="auto">
          <a:xfrm>
            <a:off x="0" y="4491038"/>
            <a:ext cx="9906001" cy="833437"/>
          </a:xfrm>
          <a:prstGeom prst="rect">
            <a:avLst/>
          </a:prstGeom>
          <a:solidFill>
            <a:srgbClr val="338D85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8" name="Rectangle 59"/>
          <p:cNvSpPr>
            <a:spLocks noChangeArrowheads="1"/>
          </p:cNvSpPr>
          <p:nvPr userDrawn="1"/>
        </p:nvSpPr>
        <p:spPr bwMode="auto">
          <a:xfrm>
            <a:off x="0" y="5324475"/>
            <a:ext cx="9906001" cy="238125"/>
          </a:xfrm>
          <a:prstGeom prst="rect">
            <a:avLst/>
          </a:prstGeom>
          <a:solidFill>
            <a:srgbClr val="80B8B3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12" name="Rectangle 61"/>
          <p:cNvSpPr>
            <a:spLocks noChangeArrowheads="1"/>
          </p:cNvSpPr>
          <p:nvPr userDrawn="1"/>
        </p:nvSpPr>
        <p:spPr bwMode="auto">
          <a:xfrm>
            <a:off x="8966201" y="5324475"/>
            <a:ext cx="939800" cy="238125"/>
          </a:xfrm>
          <a:prstGeom prst="rect">
            <a:avLst/>
          </a:prstGeom>
          <a:solidFill>
            <a:srgbClr val="66AAA4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13" name="Rectangle 60"/>
          <p:cNvSpPr>
            <a:spLocks noChangeArrowheads="1"/>
          </p:cNvSpPr>
          <p:nvPr userDrawn="1"/>
        </p:nvSpPr>
        <p:spPr bwMode="auto">
          <a:xfrm>
            <a:off x="8966201" y="4495800"/>
            <a:ext cx="939800" cy="828675"/>
          </a:xfrm>
          <a:prstGeom prst="rect">
            <a:avLst/>
          </a:prstGeom>
          <a:solidFill>
            <a:srgbClr val="6AA83A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14" name="Rectangle 62"/>
          <p:cNvSpPr>
            <a:spLocks noChangeArrowheads="1"/>
          </p:cNvSpPr>
          <p:nvPr userDrawn="1"/>
        </p:nvSpPr>
        <p:spPr bwMode="auto">
          <a:xfrm>
            <a:off x="8964613" y="5562601"/>
            <a:ext cx="941387" cy="1295400"/>
          </a:xfrm>
          <a:prstGeom prst="rect">
            <a:avLst/>
          </a:prstGeom>
          <a:solidFill>
            <a:srgbClr val="CCE3E1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15" name="Rectangle 63"/>
          <p:cNvSpPr>
            <a:spLocks noChangeArrowheads="1"/>
          </p:cNvSpPr>
          <p:nvPr userDrawn="1"/>
        </p:nvSpPr>
        <p:spPr bwMode="auto">
          <a:xfrm>
            <a:off x="8966201" y="0"/>
            <a:ext cx="939799" cy="4495800"/>
          </a:xfrm>
          <a:prstGeom prst="rect">
            <a:avLst/>
          </a:prstGeom>
          <a:solidFill>
            <a:srgbClr val="197F76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pic>
        <p:nvPicPr>
          <p:cNvPr id="16" name="Picture 1076" descr="白底CTBC(中上英下)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5791200"/>
            <a:ext cx="2133600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523" y="241300"/>
            <a:ext cx="8963554" cy="505227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04524" y="927100"/>
            <a:ext cx="8963555" cy="50561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3" y="381000"/>
            <a:ext cx="8963554" cy="50522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177800" indent="0">
              <a:defRPr sz="2700"/>
            </a:lvl1pPr>
          </a:lstStyle>
          <a:p>
            <a:r>
              <a:rPr lang="zh-TW" altLang="en-US" dirty="0" smtClean="0"/>
              <a:t>按一下以編輯母片標題樣式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83444" y="829733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algn="l" fontAlgn="auto"/>
            <a:fld id="{5BBEAD13-0566-4C6C-97E7-55F17F24B09F}" type="datetimeFigureOut">
              <a:rPr lang="zh-TW" altLang="en-US" sz="1800" smtClean="0">
                <a:solidFill>
                  <a:prstClr val="black"/>
                </a:solidFill>
              </a:rPr>
              <a:pPr algn="l" fontAlgn="auto"/>
              <a:t>2020/6/1</a:t>
            </a:fld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algn="l" fontAlgn="auto"/>
            <a:endParaRPr lang="zh-TW" altLang="en-US" sz="1800">
              <a:solidFill>
                <a:prstClr val="black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9477503" y="6492876"/>
            <a:ext cx="428497" cy="365125"/>
          </a:xfrm>
          <a:prstGeom prst="rect">
            <a:avLst/>
          </a:prstGeom>
        </p:spPr>
        <p:txBody>
          <a:bodyPr/>
          <a:lstStyle/>
          <a:p>
            <a:fld id="{73DA0BB7-265A-403C-9275-D587AB510EDC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712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9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76"/>
          <p:cNvGrpSpPr>
            <a:grpSpLocks/>
          </p:cNvGrpSpPr>
          <p:nvPr/>
        </p:nvGrpSpPr>
        <p:grpSpPr bwMode="auto">
          <a:xfrm>
            <a:off x="1" y="6433045"/>
            <a:ext cx="9906000" cy="424955"/>
            <a:chOff x="0" y="4459"/>
            <a:chExt cx="6597" cy="484"/>
          </a:xfrm>
        </p:grpSpPr>
        <p:sp>
          <p:nvSpPr>
            <p:cNvPr id="10" name="Rectangle 77"/>
            <p:cNvSpPr>
              <a:spLocks noChangeArrowheads="1"/>
            </p:cNvSpPr>
            <p:nvPr userDrawn="1"/>
          </p:nvSpPr>
          <p:spPr bwMode="auto">
            <a:xfrm>
              <a:off x="0" y="4459"/>
              <a:ext cx="6597" cy="484"/>
            </a:xfrm>
            <a:prstGeom prst="rect">
              <a:avLst/>
            </a:prstGeom>
            <a:solidFill>
              <a:srgbClr val="4C9C9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 altLang="zh-TW" sz="2400">
                <a:latin typeface="微軟正黑體" pitchFamily="34" charset="-120"/>
                <a:ea typeface="微軟正黑體" pitchFamily="34" charset="-120"/>
                <a:cs typeface="+mn-cs"/>
              </a:endParaRPr>
            </a:p>
          </p:txBody>
        </p:sp>
        <p:sp>
          <p:nvSpPr>
            <p:cNvPr id="11" name="Rectangle 78"/>
            <p:cNvSpPr>
              <a:spLocks noChangeArrowheads="1"/>
            </p:cNvSpPr>
            <p:nvPr userDrawn="1"/>
          </p:nvSpPr>
          <p:spPr bwMode="auto">
            <a:xfrm>
              <a:off x="5824" y="4459"/>
              <a:ext cx="773" cy="484"/>
            </a:xfrm>
            <a:prstGeom prst="rect">
              <a:avLst/>
            </a:prstGeom>
            <a:solidFill>
              <a:srgbClr val="73B1AB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 altLang="zh-TW" sz="2400">
                <a:latin typeface="微軟正黑體" pitchFamily="34" charset="-120"/>
                <a:ea typeface="微軟正黑體" pitchFamily="34" charset="-120"/>
                <a:cs typeface="+mn-cs"/>
              </a:endParaRPr>
            </a:p>
          </p:txBody>
        </p:sp>
        <p:sp>
          <p:nvSpPr>
            <p:cNvPr id="12" name="Rectangle 79"/>
            <p:cNvSpPr>
              <a:spLocks noChangeArrowheads="1"/>
            </p:cNvSpPr>
            <p:nvPr userDrawn="1"/>
          </p:nvSpPr>
          <p:spPr bwMode="auto">
            <a:xfrm>
              <a:off x="0" y="4459"/>
              <a:ext cx="6597" cy="175"/>
            </a:xfrm>
            <a:prstGeom prst="rect">
              <a:avLst/>
            </a:prstGeom>
            <a:solidFill>
              <a:srgbClr val="80B8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 altLang="zh-TW" sz="2400">
                <a:latin typeface="微軟正黑體" pitchFamily="34" charset="-120"/>
                <a:ea typeface="微軟正黑體" pitchFamily="34" charset="-120"/>
                <a:cs typeface="+mn-cs"/>
              </a:endParaRPr>
            </a:p>
          </p:txBody>
        </p:sp>
        <p:sp>
          <p:nvSpPr>
            <p:cNvPr id="13" name="Rectangle 80"/>
            <p:cNvSpPr>
              <a:spLocks noChangeArrowheads="1"/>
            </p:cNvSpPr>
            <p:nvPr userDrawn="1"/>
          </p:nvSpPr>
          <p:spPr bwMode="auto">
            <a:xfrm>
              <a:off x="5824" y="4459"/>
              <a:ext cx="773" cy="175"/>
            </a:xfrm>
            <a:prstGeom prst="rect">
              <a:avLst/>
            </a:prstGeom>
            <a:solidFill>
              <a:srgbClr val="99C6C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 altLang="zh-TW" sz="2400">
                <a:latin typeface="微軟正黑體" pitchFamily="34" charset="-120"/>
                <a:ea typeface="微軟正黑體" pitchFamily="34" charset="-120"/>
                <a:cs typeface="+mn-cs"/>
              </a:endParaRPr>
            </a:p>
          </p:txBody>
        </p:sp>
      </p:grp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1223" y="381000"/>
            <a:ext cx="8963554" cy="505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1223" y="1066800"/>
            <a:ext cx="8963554" cy="50561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9250760" y="6675438"/>
            <a:ext cx="19089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</a:pPr>
            <a:fld id="{0AAE6F06-DF1F-4AFE-8A52-B806E3E9D437}" type="slidenum">
              <a:rPr lang="en-US" sz="900" smtClean="0">
                <a:latin typeface="微軟正黑體" pitchFamily="34" charset="-120"/>
                <a:ea typeface="微軟正黑體" pitchFamily="34" charset="-120"/>
              </a:rPr>
              <a:pPr algn="r" defTabSz="889000">
                <a:spcBef>
                  <a:spcPct val="0"/>
                </a:spcBef>
              </a:pPr>
              <a:t>‹#›</a:t>
            </a:fld>
            <a:endParaRPr lang="en-US" sz="900" dirty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5" name="Rectangle 81"/>
          <p:cNvSpPr>
            <a:spLocks noChangeArrowheads="1"/>
          </p:cNvSpPr>
          <p:nvPr/>
        </p:nvSpPr>
        <p:spPr bwMode="auto">
          <a:xfrm>
            <a:off x="457200" y="6629400"/>
            <a:ext cx="3630613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l" defTabSz="1046163" eaLnBrk="0" hangingPunct="0">
              <a:spcBef>
                <a:spcPct val="50000"/>
              </a:spcBef>
              <a:defRPr/>
            </a:pPr>
            <a:r>
              <a:rPr lang="en-US" altLang="en-GB" sz="900" dirty="0" smtClean="0">
                <a:solidFill>
                  <a:srgbClr val="FFFFFF"/>
                </a:solidFill>
                <a:latin typeface="微軟正黑體" pitchFamily="34" charset="-120"/>
                <a:ea typeface="微軟正黑體" pitchFamily="34" charset="-120"/>
                <a:cs typeface="+mn-cs"/>
              </a:rPr>
              <a:t>© CTBC</a:t>
            </a:r>
            <a:endParaRPr lang="en-US" altLang="en-GB" sz="900" dirty="0">
              <a:solidFill>
                <a:srgbClr val="FFFFFF"/>
              </a:solidFill>
              <a:latin typeface="微軟正黑體" pitchFamily="34" charset="-120"/>
              <a:ea typeface="微軟正黑體" pitchFamily="34" charset="-120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97" r:id="rId5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微軟正黑體" pitchFamily="34" charset="-120"/>
          <a:ea typeface="微軟正黑體" pitchFamily="34" charset="-120"/>
          <a:cs typeface="+mj-cs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Tx/>
        <a:defRPr sz="1600" b="1">
          <a:solidFill>
            <a:schemeClr val="tx1"/>
          </a:solidFill>
          <a:latin typeface="微軟正黑體" pitchFamily="34" charset="-120"/>
          <a:ea typeface="微軟正黑體" pitchFamily="34" charset="-120"/>
          <a:cs typeface="+mn-cs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Tx/>
        <a:buChar char="•"/>
        <a:defRPr sz="1600">
          <a:solidFill>
            <a:schemeClr val="tx1"/>
          </a:solidFill>
          <a:latin typeface="微軟正黑體" pitchFamily="34" charset="-120"/>
          <a:ea typeface="微軟正黑體" pitchFamily="34" charset="-120"/>
          <a:cs typeface="+mn-cs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600">
          <a:solidFill>
            <a:schemeClr val="tx1"/>
          </a:solidFill>
          <a:latin typeface="微軟正黑體" pitchFamily="34" charset="-120"/>
          <a:ea typeface="微軟正黑體" pitchFamily="34" charset="-120"/>
          <a:cs typeface="+mn-cs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600">
          <a:solidFill>
            <a:schemeClr val="tx1"/>
          </a:solidFill>
          <a:latin typeface="微軟正黑體" pitchFamily="34" charset="-120"/>
          <a:ea typeface="微軟正黑體" pitchFamily="34" charset="-120"/>
          <a:cs typeface="+mn-cs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600">
          <a:solidFill>
            <a:schemeClr val="tx1"/>
          </a:solidFill>
          <a:latin typeface="微軟正黑體" pitchFamily="34" charset="-120"/>
          <a:ea typeface="微軟正黑體" pitchFamily="34" charset="-120"/>
          <a:cs typeface="+mn-cs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" Target="slide1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64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24284" y="1562100"/>
            <a:ext cx="8356877" cy="196691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88891" tIns="44445" rIns="88891" bIns="44445" anchor="ctr"/>
          <a:lstStyle/>
          <a:p>
            <a:pPr algn="l" defTabSz="889000">
              <a:spcBef>
                <a:spcPct val="0"/>
              </a:spcBef>
            </a:pPr>
            <a:r>
              <a:rPr lang="zh-TW" altLang="en-US" sz="3300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模型</a:t>
            </a:r>
            <a:r>
              <a:rPr lang="zh-TW" altLang="en-US" sz="3300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迭代</a:t>
            </a:r>
            <a:endParaRPr lang="en-US" altLang="zh-TW" sz="28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 defTabSz="889000">
              <a:spcBef>
                <a:spcPct val="0"/>
              </a:spcBef>
            </a:pPr>
            <a:r>
              <a:rPr lang="en-US" altLang="zh-TW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r>
              <a:rPr lang="en-US" altLang="zh-TW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.</a:t>
            </a:r>
            <a:r>
              <a:rPr lang="zh-TW" altLang="en-US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風險變動模型開發結果</a:t>
            </a:r>
            <a:r>
              <a:rPr lang="en-US" altLang="zh-TW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/>
            </a:r>
            <a:br>
              <a:rPr lang="en-US" altLang="zh-TW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en-US" altLang="zh-TW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.</a:t>
            </a:r>
            <a:r>
              <a:rPr lang="zh-TW" altLang="en-US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需求模型開發結果</a:t>
            </a:r>
            <a:r>
              <a:rPr lang="en-US" altLang="zh-TW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/>
            </a:r>
            <a:br>
              <a:rPr lang="en-US" altLang="zh-TW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endParaRPr lang="en-US" sz="26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3565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4285" y="4725987"/>
            <a:ext cx="8356877" cy="37941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88891" tIns="44445" rIns="88891" bIns="44445" anchor="b"/>
          <a:lstStyle/>
          <a:p>
            <a:pPr algn="r" defTabSz="889000">
              <a:spcBef>
                <a:spcPct val="0"/>
              </a:spcBef>
            </a:pPr>
            <a:r>
              <a:rPr lang="zh-TW" altLang="en-US" sz="20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據規劃部 </a:t>
            </a:r>
            <a:r>
              <a:rPr lang="en-US" altLang="zh-TW" sz="20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20/04</a:t>
            </a:r>
            <a:endParaRPr lang="en-US" sz="20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 bwMode="auto">
          <a:xfrm>
            <a:off x="-761" y="781050"/>
            <a:ext cx="9906000" cy="6076950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3" name="標題 1"/>
          <p:cNvSpPr txBox="1">
            <a:spLocks/>
          </p:cNvSpPr>
          <p:nvPr/>
        </p:nvSpPr>
        <p:spPr bwMode="auto">
          <a:xfrm>
            <a:off x="803082" y="209496"/>
            <a:ext cx="8364995" cy="505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+mj-cs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zh-TW" altLang="en-US" dirty="0" smtClean="0"/>
              <a:t> 模型</a:t>
            </a:r>
            <a:r>
              <a:rPr lang="zh-TW" altLang="en-US" dirty="0"/>
              <a:t>開發結果</a:t>
            </a:r>
            <a:r>
              <a:rPr lang="zh-TW" altLang="en-US" dirty="0" smtClean="0"/>
              <a:t>：覆蓋率、戶數率與 </a:t>
            </a:r>
            <a:r>
              <a:rPr lang="en-US" altLang="zh-TW" dirty="0" smtClean="0"/>
              <a:t>GINI</a:t>
            </a:r>
            <a:r>
              <a:rPr lang="zh-TW" altLang="en-US" dirty="0" smtClean="0"/>
              <a:t> </a:t>
            </a:r>
            <a:endParaRPr lang="zh-TW" altLang="en-US" kern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>
          <a:xfrm>
            <a:off x="9345488" y="6381330"/>
            <a:ext cx="488504" cy="365125"/>
          </a:xfrm>
        </p:spPr>
        <p:txBody>
          <a:bodyPr/>
          <a:lstStyle/>
          <a:p>
            <a:fld id="{73DA0BB7-265A-403C-9275-D587AB510EDC}" type="slidenum">
              <a:rPr lang="zh-TW" altLang="en-US" smtClean="0">
                <a:solidFill>
                  <a:schemeClr val="bg1"/>
                </a:solidFill>
              </a:rPr>
              <a:pPr/>
              <a:t>9</a:t>
            </a:fld>
            <a:endParaRPr lang="zh-TW" altLang="en-US" dirty="0">
              <a:solidFill>
                <a:schemeClr val="bg1"/>
              </a:solidFill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613738"/>
              </p:ext>
            </p:extLst>
          </p:nvPr>
        </p:nvGraphicFramePr>
        <p:xfrm>
          <a:off x="237497" y="1887948"/>
          <a:ext cx="9541210" cy="1932970"/>
        </p:xfrm>
        <a:graphic>
          <a:graphicData uri="http://schemas.openxmlformats.org/drawingml/2006/table">
            <a:tbl>
              <a:tblPr/>
              <a:tblGrid>
                <a:gridCol w="1734763"/>
                <a:gridCol w="867383"/>
                <a:gridCol w="867383"/>
                <a:gridCol w="867383"/>
                <a:gridCol w="867383"/>
                <a:gridCol w="867383"/>
                <a:gridCol w="867383"/>
                <a:gridCol w="867383"/>
                <a:gridCol w="867383"/>
                <a:gridCol w="867383"/>
              </a:tblGrid>
              <a:tr h="29764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信貸風險變動分</a:t>
                      </a:r>
                      <a:endParaRPr lang="en-US" altLang="zh-TW" sz="14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baseline="0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600" b="1" kern="120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</a:t>
                      </a:r>
                      <a:r>
                        <a:rPr lang="zh-TW" altLang="en-US" sz="1600" b="1" kern="120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分↑客戶數</a:t>
                      </a:r>
                      <a:endParaRPr lang="en-US" altLang="zh-TW" sz="16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zh-TW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zh-TW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分↑需求覆蓋率</a:t>
                      </a:r>
                      <a:endParaRPr lang="en-US" altLang="zh-TW" sz="16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GINI</a:t>
                      </a:r>
                      <a:endParaRPr lang="en-US" altLang="zh-TW" sz="16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/>
                </a:tc>
              </a:tr>
              <a:tr h="297645"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4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開發樣本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06</a:t>
                      </a:r>
                      <a:endParaRPr lang="zh-TW" altLang="en-US" sz="11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TW" altLang="en-US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測試樣本</a:t>
                      </a:r>
                      <a:r>
                        <a:rPr lang="en-US" altLang="zh-TW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19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既有模型 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12</a:t>
                      </a:r>
                      <a:endParaRPr lang="zh-TW" altLang="en-US" sz="11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開發樣本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06</a:t>
                      </a:r>
                      <a:endParaRPr lang="zh-TW" altLang="en-US" sz="11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TW" altLang="en-US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測試樣本</a:t>
                      </a:r>
                      <a:r>
                        <a:rPr lang="en-US" altLang="zh-TW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19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既有模型 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12</a:t>
                      </a:r>
                      <a:endParaRPr lang="zh-TW" altLang="en-US" sz="11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開發樣本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06</a:t>
                      </a:r>
                      <a:endParaRPr lang="zh-TW" altLang="en-US" sz="11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TW" altLang="en-US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測試樣本</a:t>
                      </a:r>
                      <a:r>
                        <a:rPr lang="en-US" altLang="zh-TW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19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既有模型 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12</a:t>
                      </a:r>
                      <a:endParaRPr lang="zh-TW" altLang="en-US" sz="11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60009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有信貸</a:t>
                      </a:r>
                      <a:r>
                        <a:rPr lang="zh-TW" altLang="en-US" sz="12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且與</a:t>
                      </a:r>
                      <a:r>
                        <a:rPr lang="zh-TW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本行往來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4.5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.9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.8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9.9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9.93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9.84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2.22</a:t>
                      </a:r>
                      <a:r>
                        <a:rPr lang="en-US" altLang="zh-TW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7.56%</a:t>
                      </a:r>
                      <a:endParaRPr lang="en-US" altLang="zh-TW" sz="1200" b="1" i="0" u="none" strike="noStrike" kern="1200" dirty="0">
                        <a:solidFill>
                          <a:srgbClr val="C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5.41</a:t>
                      </a:r>
                      <a:r>
                        <a:rPr lang="en-US" altLang="zh-TW" sz="12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0009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有信貸</a:t>
                      </a:r>
                      <a:r>
                        <a:rPr lang="zh-TW" altLang="en-US" sz="12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且與</a:t>
                      </a:r>
                      <a:r>
                        <a:rPr lang="zh-TW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非本行往來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4.5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3.5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3.0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9.17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8.72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8.61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0.0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6.18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4.68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0009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無</a:t>
                      </a:r>
                      <a:r>
                        <a:rPr lang="zh-TW" altLang="en-US" sz="12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信貸</a:t>
                      </a:r>
                      <a:r>
                        <a:rPr lang="en-US" altLang="zh-TW" sz="12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Non </a:t>
                      </a:r>
                      <a:r>
                        <a:rPr lang="en-US" sz="1200" b="0" i="0" u="none" strike="noStrike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Transactor</a:t>
                      </a:r>
                      <a:endParaRPr 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9.7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3.5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0.7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0.86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9.90%</a:t>
                      </a:r>
                      <a:endParaRPr lang="en-US" altLang="zh-TW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4.06%</a:t>
                      </a:r>
                      <a:endParaRPr lang="en-US" altLang="zh-TW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4.54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1.55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0.87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0009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無</a:t>
                      </a:r>
                      <a:r>
                        <a:rPr lang="zh-TW" altLang="en-US" sz="12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信貸</a:t>
                      </a:r>
                      <a:r>
                        <a:rPr lang="en-US" altLang="zh-TW" sz="1200" b="0" i="0" u="none" strike="noStrike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Transactor</a:t>
                      </a:r>
                      <a:endParaRPr 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.3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.4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.2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4.08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0.91%</a:t>
                      </a:r>
                      <a:endParaRPr lang="en-US" altLang="zh-TW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5.94%</a:t>
                      </a:r>
                      <a:endParaRPr lang="en-US" altLang="zh-TW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3.74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7.86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4.4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0009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2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整體授信戶</a:t>
                      </a:r>
                      <a:endParaRPr 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4.0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9.3</a:t>
                      </a:r>
                      <a:r>
                        <a:rPr lang="zh-TW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13.7</a:t>
                      </a:r>
                      <a:r>
                        <a:rPr lang="zh-TW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1.36%</a:t>
                      </a:r>
                      <a:endParaRPr lang="zh-TW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8.21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8.15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2.95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0.21%</a:t>
                      </a:r>
                      <a:endParaRPr lang="en-US" altLang="zh-TW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0.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矩形 8"/>
          <p:cNvSpPr/>
          <p:nvPr/>
        </p:nvSpPr>
        <p:spPr>
          <a:xfrm>
            <a:off x="272481" y="789711"/>
            <a:ext cx="928903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【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風險變動分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】</a:t>
            </a:r>
          </a:p>
          <a:p>
            <a:pPr marL="285750" indent="-285750" algn="l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比較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912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既有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模型與測試樣本，其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分以上客戶數及需求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覆蓋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率皆明顯提升</a:t>
            </a:r>
            <a:endParaRPr lang="en-US" altLang="zh-TW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各子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卡於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906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的開發樣本 </a:t>
            </a:r>
            <a:r>
              <a:rPr lang="en-US" altLang="zh-TW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GINI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皆大於 </a:t>
            </a:r>
            <a:r>
              <a:rPr lang="en-US" altLang="zh-TW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40%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整體 </a:t>
            </a:r>
            <a:r>
              <a:rPr lang="en-US" altLang="zh-TW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GINI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達 </a:t>
            </a:r>
            <a:r>
              <a:rPr lang="en-US" altLang="zh-TW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2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lang="en-US" altLang="zh-TW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" name="橢圓 13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lang="en-US" altLang="zh-TW" sz="2700" b="1" dirty="0" smtClean="0"/>
              <a:t>4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aphicFrame>
        <p:nvGraphicFramePr>
          <p:cNvPr id="17" name="表格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425318"/>
              </p:ext>
            </p:extLst>
          </p:nvPr>
        </p:nvGraphicFramePr>
        <p:xfrm>
          <a:off x="237497" y="5377816"/>
          <a:ext cx="9541210" cy="892934"/>
        </p:xfrm>
        <a:graphic>
          <a:graphicData uri="http://schemas.openxmlformats.org/drawingml/2006/table">
            <a:tbl>
              <a:tblPr/>
              <a:tblGrid>
                <a:gridCol w="1734763"/>
                <a:gridCol w="867383"/>
                <a:gridCol w="867383"/>
                <a:gridCol w="867383"/>
                <a:gridCol w="867383"/>
                <a:gridCol w="867383"/>
                <a:gridCol w="867383"/>
                <a:gridCol w="867383"/>
                <a:gridCol w="867383"/>
                <a:gridCol w="867383"/>
              </a:tblGrid>
              <a:tr h="29764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信貸需求分</a:t>
                      </a:r>
                      <a:endParaRPr lang="en-US" altLang="zh-TW" sz="14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baseline="0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600" b="1" kern="120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</a:t>
                      </a:r>
                      <a:r>
                        <a:rPr lang="zh-TW" altLang="en-US" sz="1600" b="1" kern="120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分↑客戶數</a:t>
                      </a:r>
                      <a:endParaRPr lang="en-US" altLang="zh-TW" sz="16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zh-TW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zh-TW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分↑需求覆蓋率</a:t>
                      </a:r>
                      <a:endParaRPr lang="en-US" altLang="zh-TW" sz="16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GINI</a:t>
                      </a:r>
                      <a:endParaRPr lang="en-US" altLang="zh-TW" sz="16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/>
                </a:tc>
              </a:tr>
              <a:tr h="335280"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4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開發樣本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06</a:t>
                      </a:r>
                      <a:endParaRPr lang="zh-TW" altLang="en-US" sz="11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TW" altLang="en-US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測試樣本</a:t>
                      </a:r>
                      <a:r>
                        <a:rPr lang="en-US" altLang="zh-TW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19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既有模型 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12</a:t>
                      </a:r>
                      <a:endParaRPr lang="zh-TW" altLang="en-US" sz="11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開發樣本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06</a:t>
                      </a:r>
                      <a:endParaRPr lang="zh-TW" altLang="en-US" sz="11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TW" altLang="en-US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測試樣本</a:t>
                      </a:r>
                      <a:r>
                        <a:rPr lang="en-US" altLang="zh-TW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19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既有模型 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12</a:t>
                      </a:r>
                      <a:endParaRPr lang="zh-TW" altLang="en-US" sz="11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開發樣本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06</a:t>
                      </a:r>
                      <a:endParaRPr lang="zh-TW" altLang="en-US" sz="11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TW" altLang="en-US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測試樣本</a:t>
                      </a:r>
                      <a:r>
                        <a:rPr lang="en-US" altLang="zh-TW" sz="1100" b="1" kern="1200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19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既有模型 </a:t>
                      </a:r>
                      <a:r>
                        <a:rPr lang="en-US" altLang="zh-TW" sz="11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12</a:t>
                      </a:r>
                      <a:endParaRPr lang="zh-TW" altLang="en-US" sz="11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6000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整體授信戶</a:t>
                      </a:r>
                      <a:endParaRPr 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4.4</a:t>
                      </a:r>
                      <a:r>
                        <a:rPr lang="zh-TW" altLang="en-US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0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9.7</a:t>
                      </a:r>
                      <a:r>
                        <a:rPr lang="zh-TW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13.7</a:t>
                      </a:r>
                      <a:r>
                        <a:rPr lang="zh-TW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1.46%</a:t>
                      </a:r>
                      <a:endParaRPr lang="zh-TW" altLang="en-US" sz="1200" b="0" i="0" u="none" strike="noStrike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0.42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8.1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3.00%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0.7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0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0.85%</a:t>
                      </a:r>
                      <a:endParaRPr lang="en-US" altLang="zh-TW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21" name="肘形接點 20"/>
          <p:cNvCxnSpPr>
            <a:endCxn id="22" idx="1"/>
          </p:cNvCxnSpPr>
          <p:nvPr/>
        </p:nvCxnSpPr>
        <p:spPr bwMode="auto">
          <a:xfrm rot="16200000" flipH="1">
            <a:off x="6253469" y="3750544"/>
            <a:ext cx="715019" cy="356543"/>
          </a:xfrm>
          <a:prstGeom prst="bentConnector2">
            <a:avLst/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none" w="med" len="med"/>
            <a:tailEnd type="oval" w="med" len="med"/>
          </a:ln>
          <a:effectLst/>
        </p:spPr>
      </p:cxnSp>
      <p:sp>
        <p:nvSpPr>
          <p:cNvPr id="22" name="文字方塊 21"/>
          <p:cNvSpPr txBox="1"/>
          <p:nvPr/>
        </p:nvSpPr>
        <p:spPr>
          <a:xfrm>
            <a:off x="6789250" y="3886216"/>
            <a:ext cx="141283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1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無信貸客戶</a:t>
            </a:r>
            <a:endParaRPr lang="en-US" altLang="zh-TW" sz="1100" b="1" dirty="0" smtClean="0">
              <a:solidFill>
                <a:srgbClr val="FFC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1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覆蓋率提升</a:t>
            </a:r>
            <a:r>
              <a:rPr lang="en-US" altLang="zh-TW" sz="11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4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en-US" altLang="zh-TW" sz="24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~6%</a:t>
            </a:r>
            <a:endParaRPr lang="zh-TW" altLang="en-US" sz="2400" b="1" dirty="0">
              <a:solidFill>
                <a:srgbClr val="FFC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41063" y="4253747"/>
            <a:ext cx="928903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【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需求分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】</a:t>
            </a:r>
          </a:p>
          <a:p>
            <a:pPr marL="285750" indent="-285750" algn="l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比較 </a:t>
            </a:r>
            <a:r>
              <a:rPr lang="en-US" altLang="zh-TW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912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的既有模型與測試樣本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其 </a:t>
            </a:r>
            <a:r>
              <a:rPr lang="en-US" altLang="zh-TW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分以上客戶數及需求覆蓋率皆明顯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提升</a:t>
            </a:r>
            <a:endParaRPr lang="en-US" altLang="zh-TW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該模型於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906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開發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樣本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GINI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達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3%</a:t>
            </a:r>
          </a:p>
        </p:txBody>
      </p:sp>
      <p:cxnSp>
        <p:nvCxnSpPr>
          <p:cNvPr id="24" name="肘形接點 23"/>
          <p:cNvCxnSpPr>
            <a:endCxn id="25" idx="1"/>
          </p:cNvCxnSpPr>
          <p:nvPr/>
        </p:nvCxnSpPr>
        <p:spPr bwMode="auto">
          <a:xfrm>
            <a:off x="3021459" y="3820917"/>
            <a:ext cx="356542" cy="27055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none" w="med" len="med"/>
            <a:tailEnd type="oval" w="med" len="med"/>
          </a:ln>
          <a:effectLst/>
        </p:spPr>
      </p:cxnSp>
      <p:sp>
        <p:nvSpPr>
          <p:cNvPr id="25" name="文字方塊 24"/>
          <p:cNvSpPr txBox="1"/>
          <p:nvPr/>
        </p:nvSpPr>
        <p:spPr>
          <a:xfrm>
            <a:off x="3378001" y="3860635"/>
            <a:ext cx="17645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1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增加</a:t>
            </a:r>
            <a:r>
              <a:rPr lang="en-US" altLang="zh-TW" sz="11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4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5.6</a:t>
            </a:r>
            <a:r>
              <a:rPr lang="zh-TW" altLang="en-US" sz="24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24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100" b="1" dirty="0">
              <a:solidFill>
                <a:srgbClr val="FFC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" name="橢圓 27">
            <a:hlinkClick r:id="rId2" action="ppaction://hlinksldjump"/>
          </p:cNvPr>
          <p:cNvSpPr/>
          <p:nvPr/>
        </p:nvSpPr>
        <p:spPr bwMode="auto">
          <a:xfrm>
            <a:off x="8112083" y="2554632"/>
            <a:ext cx="180000" cy="18000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kumimoji="0" lang="zh-TW" altLang="en-US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！</a:t>
            </a:r>
          </a:p>
        </p:txBody>
      </p:sp>
      <p:sp>
        <p:nvSpPr>
          <p:cNvPr id="29" name="橢圓 28">
            <a:hlinkClick r:id="rId2" action="ppaction://hlinksldjump"/>
          </p:cNvPr>
          <p:cNvSpPr/>
          <p:nvPr/>
        </p:nvSpPr>
        <p:spPr bwMode="auto">
          <a:xfrm>
            <a:off x="8982453" y="2554632"/>
            <a:ext cx="180000" cy="18000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kumimoji="0" lang="zh-TW" altLang="en-US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！</a:t>
            </a:r>
          </a:p>
        </p:txBody>
      </p:sp>
      <p:cxnSp>
        <p:nvCxnSpPr>
          <p:cNvPr id="30" name="肘形接點 29"/>
          <p:cNvCxnSpPr>
            <a:endCxn id="31" idx="1"/>
          </p:cNvCxnSpPr>
          <p:nvPr/>
        </p:nvCxnSpPr>
        <p:spPr bwMode="auto">
          <a:xfrm>
            <a:off x="2995045" y="6283178"/>
            <a:ext cx="356542" cy="270551"/>
          </a:xfrm>
          <a:prstGeom prst="bentConnector3">
            <a:avLst>
              <a:gd name="adj1" fmla="val -1293"/>
            </a:avLst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none" w="med" len="med"/>
            <a:tailEnd type="oval" w="med" len="med"/>
          </a:ln>
          <a:effectLst/>
        </p:spPr>
      </p:cxnSp>
      <p:sp>
        <p:nvSpPr>
          <p:cNvPr id="31" name="文字方塊 30"/>
          <p:cNvSpPr txBox="1"/>
          <p:nvPr/>
        </p:nvSpPr>
        <p:spPr>
          <a:xfrm>
            <a:off x="3351587" y="6322896"/>
            <a:ext cx="17645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1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增加</a:t>
            </a:r>
            <a:r>
              <a:rPr lang="en-US" altLang="zh-TW" sz="11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4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6.0</a:t>
            </a:r>
            <a:r>
              <a:rPr lang="zh-TW" altLang="en-US" sz="24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萬</a:t>
            </a:r>
            <a:endParaRPr lang="zh-TW" altLang="en-US" sz="1100" b="1" dirty="0">
              <a:solidFill>
                <a:srgbClr val="FFC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32" name="肘形接點 31"/>
          <p:cNvCxnSpPr>
            <a:endCxn id="33" idx="1"/>
          </p:cNvCxnSpPr>
          <p:nvPr/>
        </p:nvCxnSpPr>
        <p:spPr bwMode="auto">
          <a:xfrm>
            <a:off x="5740606" y="6284521"/>
            <a:ext cx="356542" cy="27055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none" w="med" len="med"/>
            <a:tailEnd type="oval" w="med" len="med"/>
          </a:ln>
          <a:effectLst/>
        </p:spPr>
      </p:cxnSp>
      <p:sp>
        <p:nvSpPr>
          <p:cNvPr id="33" name="文字方塊 32"/>
          <p:cNvSpPr txBox="1"/>
          <p:nvPr/>
        </p:nvSpPr>
        <p:spPr>
          <a:xfrm>
            <a:off x="6097148" y="6324240"/>
            <a:ext cx="2275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1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覆蓋率增加</a:t>
            </a:r>
            <a:r>
              <a:rPr lang="en-US" altLang="zh-TW" sz="11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24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24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~3%</a:t>
            </a:r>
            <a:endParaRPr lang="zh-TW" altLang="en-US" sz="1100" b="1" dirty="0">
              <a:solidFill>
                <a:srgbClr val="FFC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57860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 bwMode="auto">
          <a:xfrm>
            <a:off x="4876800" y="791349"/>
            <a:ext cx="4785774" cy="504000"/>
          </a:xfrm>
          <a:prstGeom prst="rect">
            <a:avLst/>
          </a:prstGeom>
          <a:solidFill>
            <a:srgbClr val="2D97A5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sz="20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迭代結果</a:t>
            </a:r>
          </a:p>
        </p:txBody>
      </p:sp>
      <p:sp>
        <p:nvSpPr>
          <p:cNvPr id="25" name="五邊形 24"/>
          <p:cNvSpPr/>
          <p:nvPr/>
        </p:nvSpPr>
        <p:spPr bwMode="auto">
          <a:xfrm>
            <a:off x="2501900" y="791349"/>
            <a:ext cx="2651125" cy="504000"/>
          </a:xfrm>
          <a:prstGeom prst="homePlate">
            <a:avLst/>
          </a:prstGeom>
          <a:solidFill>
            <a:srgbClr val="2D97A5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sz="20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迭代目標</a:t>
            </a:r>
          </a:p>
        </p:txBody>
      </p:sp>
      <p:sp>
        <p:nvSpPr>
          <p:cNvPr id="24" name="五邊形 23"/>
          <p:cNvSpPr/>
          <p:nvPr/>
        </p:nvSpPr>
        <p:spPr bwMode="auto">
          <a:xfrm>
            <a:off x="225425" y="791349"/>
            <a:ext cx="2651125" cy="504000"/>
          </a:xfrm>
          <a:prstGeom prst="homePlate">
            <a:avLst/>
          </a:prstGeom>
          <a:solidFill>
            <a:srgbClr val="2D97A5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sz="20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現況</a:t>
            </a:r>
          </a:p>
        </p:txBody>
      </p:sp>
      <p:sp>
        <p:nvSpPr>
          <p:cNvPr id="21" name="矩形 20"/>
          <p:cNvSpPr/>
          <p:nvPr/>
        </p:nvSpPr>
        <p:spPr bwMode="auto">
          <a:xfrm>
            <a:off x="225425" y="1336891"/>
            <a:ext cx="2365374" cy="49768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03082" y="209496"/>
            <a:ext cx="8364995" cy="505227"/>
          </a:xfrm>
        </p:spPr>
        <p:txBody>
          <a:bodyPr/>
          <a:lstStyle/>
          <a:p>
            <a:r>
              <a:rPr lang="zh-TW" altLang="en-US" dirty="0" smtClean="0"/>
              <a:t>專案執行摘要</a:t>
            </a:r>
            <a:endParaRPr lang="zh-TW" altLang="en-US" dirty="0"/>
          </a:p>
        </p:txBody>
      </p:sp>
      <p:sp>
        <p:nvSpPr>
          <p:cNvPr id="6" name="文字方塊 5"/>
          <p:cNvSpPr txBox="1"/>
          <p:nvPr/>
        </p:nvSpPr>
        <p:spPr>
          <a:xfrm>
            <a:off x="225423" y="1371084"/>
            <a:ext cx="2340000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 algn="l">
              <a:buFont typeface="Arial" panose="020B0604020202020204" pitchFamily="34" charset="0"/>
              <a:buChar char="•"/>
            </a:pP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以行內外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據建立風險變動分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含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JCIC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據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  <a:p>
            <a:pPr marL="174625" indent="-174625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因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包含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JCIC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據，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BU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單位不可直接用於行銷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影響策略細緻度</a:t>
            </a:r>
            <a:endParaRPr lang="en-US" altLang="zh-TW" sz="1600" b="1" dirty="0" smtClean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174625" indent="-174625" algn="l">
              <a:buFont typeface="Arial" panose="020B0604020202020204" pitchFamily="34" charset="0"/>
              <a:buChar char="•"/>
            </a:pPr>
            <a:endParaRPr lang="en-US" altLang="zh-TW" sz="1600" b="1" dirty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3" name="矩形 12"/>
          <p:cNvSpPr/>
          <p:nvPr/>
        </p:nvSpPr>
        <p:spPr bwMode="auto">
          <a:xfrm>
            <a:off x="696869" y="3318054"/>
            <a:ext cx="612000" cy="2256551"/>
          </a:xfrm>
          <a:prstGeom prst="rect">
            <a:avLst/>
          </a:prstGeom>
          <a:gradFill>
            <a:gsLst>
              <a:gs pos="17000">
                <a:srgbClr val="009999"/>
              </a:gs>
              <a:gs pos="50000">
                <a:schemeClr val="accent2">
                  <a:lumMod val="75000"/>
                </a:schemeClr>
              </a:gs>
              <a:gs pos="93000">
                <a:schemeClr val="bg1"/>
              </a:gs>
            </a:gsLst>
            <a:lin ang="5400000" scaled="0"/>
          </a:gra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>
              <a:lnSpc>
                <a:spcPct val="150000"/>
              </a:lnSpc>
            </a:pP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</a:t>
            </a: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~</a:t>
            </a: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r>
              <a:rPr lang="en-US" altLang="zh-TW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endParaRPr kumimoji="0" lang="en-US" altLang="zh-TW" sz="1200" b="1" i="0" u="none" strike="noStrike" cap="none" normalizeH="0" baseline="0" dirty="0" smtClean="0">
              <a:solidFill>
                <a:schemeClr val="bg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r>
              <a:rPr kumimoji="0" lang="zh-TW" altLang="en-US" sz="12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分</a:t>
            </a:r>
            <a:endParaRPr kumimoji="0" lang="en-US" altLang="zh-TW" sz="1200" b="1" i="0" u="none" strike="noStrike" cap="none" normalizeH="0" baseline="0" dirty="0" smtClean="0">
              <a:solidFill>
                <a:schemeClr val="bg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endParaRPr kumimoji="0" lang="en-US" altLang="zh-TW" sz="1200" b="1" i="0" u="none" strike="noStrike" cap="none" normalizeH="0" baseline="0" dirty="0" smtClean="0">
              <a:solidFill>
                <a:schemeClr val="bg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" name="矩形 13"/>
          <p:cNvSpPr/>
          <p:nvPr/>
        </p:nvSpPr>
        <p:spPr bwMode="auto">
          <a:xfrm>
            <a:off x="1509720" y="4818743"/>
            <a:ext cx="612000" cy="75586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低分</a:t>
            </a:r>
          </a:p>
        </p:txBody>
      </p:sp>
      <p:cxnSp>
        <p:nvCxnSpPr>
          <p:cNvPr id="16" name="直線接點 15"/>
          <p:cNvCxnSpPr/>
          <p:nvPr/>
        </p:nvCxnSpPr>
        <p:spPr bwMode="auto">
          <a:xfrm flipV="1">
            <a:off x="585802" y="5660329"/>
            <a:ext cx="1619250" cy="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文字方塊 16"/>
          <p:cNvSpPr txBox="1"/>
          <p:nvPr/>
        </p:nvSpPr>
        <p:spPr>
          <a:xfrm>
            <a:off x="728677" y="5736530"/>
            <a:ext cx="5619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個金</a:t>
            </a:r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風險</a:t>
            </a:r>
            <a:endParaRPr lang="en-US" altLang="zh-TW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" name="文字方塊 17"/>
          <p:cNvSpPr txBox="1"/>
          <p:nvPr/>
        </p:nvSpPr>
        <p:spPr>
          <a:xfrm>
            <a:off x="1559210" y="5736530"/>
            <a:ext cx="5619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個</a:t>
            </a:r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金</a:t>
            </a:r>
            <a:r>
              <a:rPr lang="en-US" altLang="zh-TW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BU</a:t>
            </a:r>
          </a:p>
        </p:txBody>
      </p:sp>
      <p:sp>
        <p:nvSpPr>
          <p:cNvPr id="26" name="矩形 25"/>
          <p:cNvSpPr/>
          <p:nvPr/>
        </p:nvSpPr>
        <p:spPr bwMode="auto">
          <a:xfrm>
            <a:off x="2679700" y="1324377"/>
            <a:ext cx="2197100" cy="1620000"/>
          </a:xfrm>
          <a:prstGeom prst="rect">
            <a:avLst/>
          </a:prstGeom>
          <a:solidFill>
            <a:schemeClr val="bg1">
              <a:lumMod val="95000"/>
              <a:alpha val="23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600" b="1" i="0" u="none" strike="noStrike" cap="none" normalizeH="0" baseline="0" dirty="0" smtClean="0">
              <a:solidFill>
                <a:schemeClr val="tx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矩形 26"/>
          <p:cNvSpPr/>
          <p:nvPr/>
        </p:nvSpPr>
        <p:spPr bwMode="auto">
          <a:xfrm>
            <a:off x="2679700" y="3009081"/>
            <a:ext cx="2197100" cy="1620000"/>
          </a:xfrm>
          <a:prstGeom prst="rect">
            <a:avLst/>
          </a:prstGeom>
          <a:solidFill>
            <a:schemeClr val="bg1">
              <a:lumMod val="95000"/>
              <a:alpha val="23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600" b="1" i="0" u="none" strike="noStrike" cap="none" normalizeH="0" baseline="0" dirty="0" smtClean="0">
              <a:solidFill>
                <a:schemeClr val="tx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" name="矩形 27"/>
          <p:cNvSpPr/>
          <p:nvPr/>
        </p:nvSpPr>
        <p:spPr bwMode="auto">
          <a:xfrm>
            <a:off x="2679700" y="4693785"/>
            <a:ext cx="2197100" cy="1620000"/>
          </a:xfrm>
          <a:prstGeom prst="rect">
            <a:avLst/>
          </a:prstGeom>
          <a:solidFill>
            <a:schemeClr val="bg1">
              <a:lumMod val="95000"/>
              <a:alpha val="23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600" b="1" i="0" u="none" strike="noStrike" cap="none" normalizeH="0" baseline="0" dirty="0" smtClean="0">
              <a:solidFill>
                <a:schemeClr val="tx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0" name="直角三角形 29"/>
          <p:cNvSpPr/>
          <p:nvPr/>
        </p:nvSpPr>
        <p:spPr bwMode="auto">
          <a:xfrm flipV="1">
            <a:off x="2679700" y="1324376"/>
            <a:ext cx="618978" cy="568440"/>
          </a:xfrm>
          <a:prstGeom prst="rtTriangle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1" name="文字方塊 30"/>
          <p:cNvSpPr txBox="1"/>
          <p:nvPr/>
        </p:nvSpPr>
        <p:spPr>
          <a:xfrm>
            <a:off x="2725811" y="1335524"/>
            <a:ext cx="189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800" b="1" dirty="0" smtClean="0">
                <a:solidFill>
                  <a:schemeClr val="bg1"/>
                </a:solidFill>
                <a:latin typeface="+mn-lt"/>
              </a:rPr>
              <a:t>1</a:t>
            </a:r>
            <a:endParaRPr lang="zh-TW" altLang="en-US" sz="1800" b="1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直角三角形 31"/>
          <p:cNvSpPr/>
          <p:nvPr/>
        </p:nvSpPr>
        <p:spPr bwMode="auto">
          <a:xfrm flipV="1">
            <a:off x="2679700" y="3009081"/>
            <a:ext cx="618978" cy="568440"/>
          </a:xfrm>
          <a:prstGeom prst="rtTriangle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3" name="文字方塊 32"/>
          <p:cNvSpPr txBox="1"/>
          <p:nvPr/>
        </p:nvSpPr>
        <p:spPr>
          <a:xfrm>
            <a:off x="2725811" y="3017689"/>
            <a:ext cx="189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800" b="1" dirty="0">
                <a:solidFill>
                  <a:schemeClr val="bg1"/>
                </a:solidFill>
              </a:rPr>
              <a:t>2</a:t>
            </a:r>
            <a:endParaRPr lang="zh-TW" altLang="en-US" sz="1800" b="1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4" name="直角三角形 33"/>
          <p:cNvSpPr/>
          <p:nvPr/>
        </p:nvSpPr>
        <p:spPr bwMode="auto">
          <a:xfrm flipV="1">
            <a:off x="2679700" y="4693785"/>
            <a:ext cx="618978" cy="568440"/>
          </a:xfrm>
          <a:prstGeom prst="rtTriangle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5" name="文字方塊 34"/>
          <p:cNvSpPr txBox="1"/>
          <p:nvPr/>
        </p:nvSpPr>
        <p:spPr>
          <a:xfrm>
            <a:off x="2725811" y="4714274"/>
            <a:ext cx="189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800" b="1" dirty="0" smtClean="0">
                <a:solidFill>
                  <a:schemeClr val="bg1"/>
                </a:solidFill>
              </a:rPr>
              <a:t>3</a:t>
            </a:r>
            <a:endParaRPr lang="zh-TW" altLang="en-US" sz="1800" b="1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2989190" y="1344409"/>
            <a:ext cx="18741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889000"/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同步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滿足風險、</a:t>
            </a:r>
            <a:r>
              <a:rPr lang="en-US" altLang="zh-TW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BU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細緻業務需求</a:t>
            </a:r>
            <a:endParaRPr lang="zh-TW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3002620" y="3020447"/>
            <a:ext cx="18741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889000"/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廣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納新數據，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深化客戶的意圖捕捉</a:t>
            </a:r>
            <a:endParaRPr lang="en-US" altLang="zh-TW" sz="1600" b="1" dirty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3002620" y="4714274"/>
            <a:ext cx="1874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889000"/>
            <a:r>
              <a:rPr lang="zh-TW" altLang="en-US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</a:t>
            </a:r>
            <a:endParaRPr lang="zh-TW" altLang="en-US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3002620" y="4707134"/>
            <a:ext cx="18741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889000"/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擴大高分名單數與高分需求覆蓋率</a:t>
            </a:r>
            <a:endParaRPr lang="zh-TW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9" name="橢圓 28"/>
          <p:cNvSpPr/>
          <p:nvPr/>
        </p:nvSpPr>
        <p:spPr>
          <a:xfrm>
            <a:off x="2721850" y="2026643"/>
            <a:ext cx="540000" cy="540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fontAlgn="auto"/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變動分</a:t>
            </a:r>
          </a:p>
        </p:txBody>
      </p:sp>
      <p:sp>
        <p:nvSpPr>
          <p:cNvPr id="4" name="文字方塊 3"/>
          <p:cNvSpPr txBox="1"/>
          <p:nvPr/>
        </p:nvSpPr>
        <p:spPr>
          <a:xfrm>
            <a:off x="2605152" y="2575269"/>
            <a:ext cx="7733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 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含 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JCIC )</a:t>
            </a:r>
            <a:endParaRPr lang="zh-TW" altLang="en-US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2" name="文字方塊 41"/>
          <p:cNvSpPr txBox="1"/>
          <p:nvPr/>
        </p:nvSpPr>
        <p:spPr>
          <a:xfrm>
            <a:off x="3216650" y="2096588"/>
            <a:ext cx="3400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+</a:t>
            </a:r>
            <a:endParaRPr lang="zh-TW" altLang="en-US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3" name="橢圓 42"/>
          <p:cNvSpPr/>
          <p:nvPr/>
        </p:nvSpPr>
        <p:spPr>
          <a:xfrm>
            <a:off x="3514882" y="2026643"/>
            <a:ext cx="540000" cy="54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fontAlgn="auto"/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位</a:t>
            </a:r>
            <a:endParaRPr lang="en-US" altLang="zh-TW" sz="12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fontAlgn="auto"/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軌跡</a:t>
            </a:r>
            <a:endParaRPr lang="en-US" altLang="zh-TW" sz="12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4" name="文字方塊 43"/>
          <p:cNvSpPr txBox="1"/>
          <p:nvPr/>
        </p:nvSpPr>
        <p:spPr>
          <a:xfrm>
            <a:off x="4016227" y="2095043"/>
            <a:ext cx="3400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=</a:t>
            </a:r>
            <a:endParaRPr lang="zh-TW" altLang="en-US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4231541" y="2558015"/>
            <a:ext cx="697627" cy="4001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可供業務</a:t>
            </a:r>
            <a:endParaRPr lang="en-US" altLang="zh-TW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行銷使用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1" name="橢圓 40"/>
          <p:cNvSpPr/>
          <p:nvPr/>
        </p:nvSpPr>
        <p:spPr>
          <a:xfrm>
            <a:off x="4298529" y="2026643"/>
            <a:ext cx="540000" cy="540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fontAlgn="auto"/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分</a:t>
            </a:r>
            <a:endParaRPr lang="zh-TW" altLang="en-US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7" name="群組 46"/>
          <p:cNvGrpSpPr/>
          <p:nvPr/>
        </p:nvGrpSpPr>
        <p:grpSpPr>
          <a:xfrm>
            <a:off x="2769541" y="3556095"/>
            <a:ext cx="540000" cy="540000"/>
            <a:chOff x="1010700" y="4085131"/>
            <a:chExt cx="720000" cy="720000"/>
          </a:xfrm>
        </p:grpSpPr>
        <p:sp>
          <p:nvSpPr>
            <p:cNvPr id="48" name="橢圓 47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49" name="橢圓 48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DM</a:t>
              </a: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文字</a:t>
              </a:r>
            </a:p>
          </p:txBody>
        </p:sp>
      </p:grpSp>
      <p:grpSp>
        <p:nvGrpSpPr>
          <p:cNvPr id="53" name="群組 52"/>
          <p:cNvGrpSpPr/>
          <p:nvPr/>
        </p:nvGrpSpPr>
        <p:grpSpPr>
          <a:xfrm>
            <a:off x="3508250" y="3569595"/>
            <a:ext cx="540000" cy="540000"/>
            <a:chOff x="1010700" y="4085131"/>
            <a:chExt cx="720000" cy="720000"/>
          </a:xfrm>
        </p:grpSpPr>
        <p:sp>
          <p:nvSpPr>
            <p:cNvPr id="54" name="橢圓 53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55" name="橢圓 54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保險</a:t>
              </a:r>
              <a:endParaRPr lang="en-US" altLang="zh-TW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變數</a:t>
              </a:r>
              <a:endParaRPr lang="en-US" altLang="zh-TW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56" name="群組 55"/>
          <p:cNvGrpSpPr/>
          <p:nvPr/>
        </p:nvGrpSpPr>
        <p:grpSpPr>
          <a:xfrm>
            <a:off x="3129276" y="4064031"/>
            <a:ext cx="540000" cy="540000"/>
            <a:chOff x="1010700" y="4085131"/>
            <a:chExt cx="720000" cy="720000"/>
          </a:xfrm>
        </p:grpSpPr>
        <p:sp>
          <p:nvSpPr>
            <p:cNvPr id="57" name="橢圓 56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58" name="橢圓 57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數位</a:t>
              </a:r>
              <a:endParaRPr lang="en-US" altLang="zh-TW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軌跡</a:t>
              </a:r>
            </a:p>
          </p:txBody>
        </p:sp>
      </p:grpSp>
      <p:grpSp>
        <p:nvGrpSpPr>
          <p:cNvPr id="59" name="群組 58"/>
          <p:cNvGrpSpPr/>
          <p:nvPr/>
        </p:nvGrpSpPr>
        <p:grpSpPr>
          <a:xfrm>
            <a:off x="4268080" y="3555557"/>
            <a:ext cx="540000" cy="540000"/>
            <a:chOff x="1010700" y="4085131"/>
            <a:chExt cx="720000" cy="720000"/>
          </a:xfrm>
        </p:grpSpPr>
        <p:sp>
          <p:nvSpPr>
            <p:cNvPr id="60" name="橢圓 59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1" name="橢圓 60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LINE</a:t>
              </a: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BC</a:t>
              </a:r>
            </a:p>
          </p:txBody>
        </p:sp>
      </p:grpSp>
      <p:grpSp>
        <p:nvGrpSpPr>
          <p:cNvPr id="62" name="群組 61"/>
          <p:cNvGrpSpPr/>
          <p:nvPr/>
        </p:nvGrpSpPr>
        <p:grpSpPr>
          <a:xfrm>
            <a:off x="3897732" y="4055593"/>
            <a:ext cx="540000" cy="540000"/>
            <a:chOff x="1010700" y="4085131"/>
            <a:chExt cx="720000" cy="720000"/>
          </a:xfrm>
        </p:grpSpPr>
        <p:sp>
          <p:nvSpPr>
            <p:cNvPr id="63" name="橢圓 62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4" name="橢圓 63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外匯</a:t>
              </a:r>
              <a:endParaRPr lang="en-US" altLang="zh-TW" sz="12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變數</a:t>
              </a:r>
              <a:endParaRPr lang="en-US" altLang="zh-TW" sz="12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sp>
        <p:nvSpPr>
          <p:cNvPr id="65" name="矩形 64"/>
          <p:cNvSpPr/>
          <p:nvPr/>
        </p:nvSpPr>
        <p:spPr bwMode="auto">
          <a:xfrm>
            <a:off x="3070932" y="7157360"/>
            <a:ext cx="796970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6" name="矩形 65"/>
          <p:cNvSpPr/>
          <p:nvPr/>
        </p:nvSpPr>
        <p:spPr bwMode="auto">
          <a:xfrm>
            <a:off x="3129452" y="5660330"/>
            <a:ext cx="198129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7" name="矩形 66"/>
          <p:cNvSpPr/>
          <p:nvPr/>
        </p:nvSpPr>
        <p:spPr bwMode="auto">
          <a:xfrm>
            <a:off x="3129453" y="5398577"/>
            <a:ext cx="132398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68" name="直線接點 67"/>
          <p:cNvCxnSpPr/>
          <p:nvPr/>
        </p:nvCxnSpPr>
        <p:spPr bwMode="auto">
          <a:xfrm>
            <a:off x="3129452" y="5303758"/>
            <a:ext cx="0" cy="900000"/>
          </a:xfrm>
          <a:prstGeom prst="line">
            <a:avLst/>
          </a:prstGeom>
          <a:noFill/>
          <a:ln w="254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69" name="矩形 68"/>
          <p:cNvSpPr/>
          <p:nvPr/>
        </p:nvSpPr>
        <p:spPr bwMode="auto">
          <a:xfrm>
            <a:off x="3122240" y="5909409"/>
            <a:ext cx="71453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0" name="矩形 69"/>
          <p:cNvSpPr/>
          <p:nvPr/>
        </p:nvSpPr>
        <p:spPr bwMode="auto">
          <a:xfrm>
            <a:off x="4132699" y="5660330"/>
            <a:ext cx="378183" cy="180000"/>
          </a:xfrm>
          <a:prstGeom prst="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1" name="矩形 70"/>
          <p:cNvSpPr/>
          <p:nvPr/>
        </p:nvSpPr>
        <p:spPr bwMode="auto">
          <a:xfrm>
            <a:off x="4132700" y="5398577"/>
            <a:ext cx="311370" cy="180000"/>
          </a:xfrm>
          <a:prstGeom prst="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72" name="直線接點 71"/>
          <p:cNvCxnSpPr/>
          <p:nvPr/>
        </p:nvCxnSpPr>
        <p:spPr bwMode="auto">
          <a:xfrm>
            <a:off x="4132699" y="5303758"/>
            <a:ext cx="0" cy="900000"/>
          </a:xfrm>
          <a:prstGeom prst="line">
            <a:avLst/>
          </a:prstGeom>
          <a:noFill/>
          <a:ln w="25400" cap="flat" cmpd="sng" algn="ctr">
            <a:solidFill>
              <a:srgbClr val="2D97A5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73" name="矩形 72"/>
          <p:cNvSpPr/>
          <p:nvPr/>
        </p:nvSpPr>
        <p:spPr bwMode="auto">
          <a:xfrm>
            <a:off x="4125487" y="5909409"/>
            <a:ext cx="485743" cy="180000"/>
          </a:xfrm>
          <a:prstGeom prst="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2" name="向右箭號 11"/>
          <p:cNvSpPr/>
          <p:nvPr/>
        </p:nvSpPr>
        <p:spPr bwMode="auto">
          <a:xfrm>
            <a:off x="3742426" y="5660329"/>
            <a:ext cx="241956" cy="180001"/>
          </a:xfrm>
          <a:prstGeom prst="rightArrow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" name="文字方塊 14"/>
          <p:cNvSpPr txBox="1"/>
          <p:nvPr/>
        </p:nvSpPr>
        <p:spPr>
          <a:xfrm>
            <a:off x="2605153" y="5365466"/>
            <a:ext cx="537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高分</a:t>
            </a:r>
          </a:p>
        </p:txBody>
      </p:sp>
      <p:sp>
        <p:nvSpPr>
          <p:cNvPr id="74" name="文字方塊 73"/>
          <p:cNvSpPr txBox="1"/>
          <p:nvPr/>
        </p:nvSpPr>
        <p:spPr>
          <a:xfrm>
            <a:off x="2605471" y="5627218"/>
            <a:ext cx="537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中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</a:t>
            </a:r>
          </a:p>
        </p:txBody>
      </p:sp>
      <p:sp>
        <p:nvSpPr>
          <p:cNvPr id="75" name="文字方塊 74"/>
          <p:cNvSpPr txBox="1"/>
          <p:nvPr/>
        </p:nvSpPr>
        <p:spPr>
          <a:xfrm>
            <a:off x="2601253" y="5875029"/>
            <a:ext cx="537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低分</a:t>
            </a:r>
          </a:p>
        </p:txBody>
      </p:sp>
      <p:sp>
        <p:nvSpPr>
          <p:cNvPr id="19" name="矩形 18"/>
          <p:cNvSpPr/>
          <p:nvPr/>
        </p:nvSpPr>
        <p:spPr>
          <a:xfrm>
            <a:off x="4354156" y="5320058"/>
            <a:ext cx="3642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b="1" dirty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  <a:endParaRPr lang="zh-TW" altLang="en-US" dirty="0"/>
          </a:p>
        </p:txBody>
      </p:sp>
      <p:sp>
        <p:nvSpPr>
          <p:cNvPr id="76" name="矩形 75"/>
          <p:cNvSpPr/>
          <p:nvPr/>
        </p:nvSpPr>
        <p:spPr>
          <a:xfrm>
            <a:off x="4439878" y="5583697"/>
            <a:ext cx="3642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b="1" dirty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  <a:endParaRPr lang="zh-TW" altLang="en-US" dirty="0"/>
          </a:p>
        </p:txBody>
      </p:sp>
      <p:sp>
        <p:nvSpPr>
          <p:cNvPr id="20" name="矩形 19"/>
          <p:cNvSpPr/>
          <p:nvPr/>
        </p:nvSpPr>
        <p:spPr>
          <a:xfrm>
            <a:off x="4554009" y="5845548"/>
            <a:ext cx="3642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b="1" dirty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↓</a:t>
            </a:r>
            <a:endParaRPr lang="zh-TW" altLang="en-US" dirty="0"/>
          </a:p>
        </p:txBody>
      </p:sp>
      <p:sp>
        <p:nvSpPr>
          <p:cNvPr id="78" name="文字方塊 77"/>
          <p:cNvSpPr txBox="1"/>
          <p:nvPr/>
        </p:nvSpPr>
        <p:spPr>
          <a:xfrm>
            <a:off x="3397477" y="6086717"/>
            <a:ext cx="537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人數</a:t>
            </a:r>
          </a:p>
        </p:txBody>
      </p:sp>
      <p:sp>
        <p:nvSpPr>
          <p:cNvPr id="79" name="文字方塊 78"/>
          <p:cNvSpPr txBox="1"/>
          <p:nvPr/>
        </p:nvSpPr>
        <p:spPr>
          <a:xfrm>
            <a:off x="5071182" y="1335524"/>
            <a:ext cx="45913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 algn="l">
              <a:buFont typeface="Arial" panose="020B0604020202020204" pitchFamily="34" charset="0"/>
              <a:buChar char="•"/>
            </a:pP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既有與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版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模型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ligible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單比較 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季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endParaRPr lang="en-US" altLang="zh-TW" sz="1600" b="1" dirty="0" smtClean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淨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增加 </a:t>
            </a:r>
            <a:r>
              <a:rPr lang="en-US" altLang="zh-TW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7.1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萬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有信貸需求名單數 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季</a:t>
            </a:r>
            <a:r>
              <a:rPr lang="en-US" altLang="zh-TW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  <a:p>
            <a:pPr marL="342900" indent="-342900" algn="l">
              <a:buFont typeface="+mj-lt"/>
              <a:buAutoNum type="arabicPeriod"/>
            </a:pP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約可增加 </a:t>
            </a:r>
            <a:r>
              <a:rPr lang="en-US" altLang="zh-TW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8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億的信貸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貸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 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季</a:t>
            </a:r>
            <a:r>
              <a:rPr lang="en-US" altLang="zh-TW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endParaRPr lang="en-US" altLang="zh-TW" sz="1600" b="1" dirty="0" smtClean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44034" name="Picture 2" descr="C:\Users\Z00044610\Downloads\chec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4009" y="2320914"/>
            <a:ext cx="304588" cy="304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矩形 76"/>
          <p:cNvSpPr/>
          <p:nvPr/>
        </p:nvSpPr>
        <p:spPr bwMode="auto">
          <a:xfrm>
            <a:off x="1509185" y="3325704"/>
            <a:ext cx="612000" cy="143379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eaLnBrk="1" latinLnBrk="0" hangingPunct="1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無法</a:t>
            </a:r>
            <a:endParaRPr lang="en-US" altLang="zh-TW" sz="12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eaLnBrk="1" latinLnBrk="0" hangingPunct="1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提供</a:t>
            </a:r>
            <a:endParaRPr lang="zh-TW" altLang="en-US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82" name="直線接點 81"/>
          <p:cNvCxnSpPr/>
          <p:nvPr/>
        </p:nvCxnSpPr>
        <p:spPr bwMode="auto">
          <a:xfrm flipV="1">
            <a:off x="6443494" y="5309236"/>
            <a:ext cx="1619250" cy="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3" name="文字方塊 82"/>
          <p:cNvSpPr txBox="1"/>
          <p:nvPr/>
        </p:nvSpPr>
        <p:spPr>
          <a:xfrm>
            <a:off x="6422475" y="5385437"/>
            <a:ext cx="82619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既有模型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單數</a:t>
            </a:r>
            <a:endParaRPr lang="en-US" altLang="zh-TW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89" name="矩形 88"/>
          <p:cNvSpPr/>
          <p:nvPr/>
        </p:nvSpPr>
        <p:spPr bwMode="auto">
          <a:xfrm>
            <a:off x="6546854" y="4876581"/>
            <a:ext cx="61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舊戶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0" name="矩形 89"/>
          <p:cNvSpPr/>
          <p:nvPr/>
        </p:nvSpPr>
        <p:spPr bwMode="auto">
          <a:xfrm>
            <a:off x="6546319" y="4438572"/>
            <a:ext cx="61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大潛力</a:t>
            </a:r>
          </a:p>
        </p:txBody>
      </p:sp>
      <p:sp>
        <p:nvSpPr>
          <p:cNvPr id="91" name="矩形 90"/>
          <p:cNvSpPr/>
          <p:nvPr/>
        </p:nvSpPr>
        <p:spPr bwMode="auto">
          <a:xfrm>
            <a:off x="6546854" y="3992655"/>
            <a:ext cx="612000" cy="36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中潛力</a:t>
            </a:r>
          </a:p>
        </p:txBody>
      </p:sp>
      <p:sp>
        <p:nvSpPr>
          <p:cNvPr id="92" name="矩形 91"/>
          <p:cNvSpPr/>
          <p:nvPr/>
        </p:nvSpPr>
        <p:spPr bwMode="auto">
          <a:xfrm>
            <a:off x="6546319" y="3552564"/>
            <a:ext cx="612000" cy="360000"/>
          </a:xfrm>
          <a:prstGeom prst="rect">
            <a:avLst/>
          </a:prstGeom>
          <a:solidFill>
            <a:srgbClr val="FF6600"/>
          </a:solidFill>
          <a:ln w="952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小潛力</a:t>
            </a:r>
            <a:endParaRPr lang="zh-TW" altLang="en-US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5" name="文字方塊 94"/>
          <p:cNvSpPr txBox="1"/>
          <p:nvPr/>
        </p:nvSpPr>
        <p:spPr>
          <a:xfrm>
            <a:off x="5071182" y="3698067"/>
            <a:ext cx="11194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戶數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4.4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6.1E</a:t>
            </a:r>
          </a:p>
          <a:p>
            <a:pPr algn="l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5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7" name="文字方塊 96"/>
          <p:cNvSpPr txBox="1"/>
          <p:nvPr/>
        </p:nvSpPr>
        <p:spPr>
          <a:xfrm>
            <a:off x="8269207" y="3492149"/>
            <a:ext cx="139336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戶數：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7.4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r>
              <a:rPr lang="en-US" altLang="zh-TW" sz="1600" b="1" dirty="0" smtClean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6.7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</a:t>
            </a:r>
            <a:r>
              <a:rPr lang="en-US" altLang="zh-TW" sz="1600" b="1" dirty="0" smtClean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</a:p>
          <a:p>
            <a:pPr algn="l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5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8" name="文字方塊 97"/>
          <p:cNvSpPr txBox="1"/>
          <p:nvPr/>
        </p:nvSpPr>
        <p:spPr>
          <a:xfrm>
            <a:off x="5061421" y="2989077"/>
            <a:ext cx="11291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戶數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1.0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2.6E</a:t>
            </a:r>
          </a:p>
          <a:p>
            <a:pPr algn="l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.5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9" name="文字方塊 98"/>
          <p:cNvSpPr txBox="1"/>
          <p:nvPr/>
        </p:nvSpPr>
        <p:spPr>
          <a:xfrm>
            <a:off x="8269951" y="2614999"/>
            <a:ext cx="139262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戶數：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5.0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r>
              <a:rPr lang="en-US" altLang="zh-TW" sz="1600" b="1" dirty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3.8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</a:t>
            </a:r>
            <a:r>
              <a:rPr lang="en-US" altLang="zh-TW" sz="1600" b="1" dirty="0" smtClean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</a:p>
          <a:p>
            <a:pPr algn="l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.5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0" name="矩形 99"/>
          <p:cNvSpPr/>
          <p:nvPr/>
        </p:nvSpPr>
        <p:spPr bwMode="auto">
          <a:xfrm>
            <a:off x="7365647" y="4872840"/>
            <a:ext cx="61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舊戶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1" name="矩形 100"/>
          <p:cNvSpPr/>
          <p:nvPr/>
        </p:nvSpPr>
        <p:spPr bwMode="auto">
          <a:xfrm>
            <a:off x="7365112" y="4434831"/>
            <a:ext cx="61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大潛力</a:t>
            </a:r>
          </a:p>
        </p:txBody>
      </p:sp>
      <p:sp>
        <p:nvSpPr>
          <p:cNvPr id="102" name="矩形 101"/>
          <p:cNvSpPr/>
          <p:nvPr/>
        </p:nvSpPr>
        <p:spPr bwMode="auto">
          <a:xfrm>
            <a:off x="7365647" y="3631568"/>
            <a:ext cx="612000" cy="72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中潛力</a:t>
            </a:r>
          </a:p>
        </p:txBody>
      </p:sp>
      <p:sp>
        <p:nvSpPr>
          <p:cNvPr id="103" name="矩形 102"/>
          <p:cNvSpPr/>
          <p:nvPr/>
        </p:nvSpPr>
        <p:spPr bwMode="auto">
          <a:xfrm>
            <a:off x="7365112" y="2819959"/>
            <a:ext cx="612000" cy="720000"/>
          </a:xfrm>
          <a:prstGeom prst="rect">
            <a:avLst/>
          </a:prstGeom>
          <a:solidFill>
            <a:srgbClr val="FF6600"/>
          </a:solidFill>
          <a:ln w="952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小潛力</a:t>
            </a:r>
            <a:endParaRPr lang="zh-TW" altLang="en-US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9" name="肘形接點 8"/>
          <p:cNvCxnSpPr>
            <a:stCxn id="99" idx="1"/>
            <a:endCxn id="103" idx="3"/>
          </p:cNvCxnSpPr>
          <p:nvPr/>
        </p:nvCxnSpPr>
        <p:spPr bwMode="auto">
          <a:xfrm rot="10800000" flipV="1">
            <a:off x="7977113" y="2999719"/>
            <a:ext cx="292839" cy="180239"/>
          </a:xfrm>
          <a:prstGeom prst="bentConnector3">
            <a:avLst/>
          </a:prstGeom>
          <a:noFill/>
          <a:ln w="9525" cap="flat" cmpd="sng" algn="ctr">
            <a:solidFill>
              <a:srgbClr val="FF6600"/>
            </a:solidFill>
            <a:prstDash val="dash"/>
            <a:round/>
            <a:headEnd type="oval" w="med" len="med"/>
            <a:tailEnd type="none" w="med" len="med"/>
          </a:ln>
          <a:effectLst/>
        </p:spPr>
      </p:cxnSp>
      <p:cxnSp>
        <p:nvCxnSpPr>
          <p:cNvPr id="105" name="肘形接點 104"/>
          <p:cNvCxnSpPr>
            <a:stCxn id="97" idx="1"/>
            <a:endCxn id="102" idx="3"/>
          </p:cNvCxnSpPr>
          <p:nvPr/>
        </p:nvCxnSpPr>
        <p:spPr bwMode="auto">
          <a:xfrm rot="10800000" flipV="1">
            <a:off x="7977647" y="3876870"/>
            <a:ext cx="291560" cy="11469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oval" w="med" len="med"/>
            <a:tailEnd type="none" w="med" len="med"/>
          </a:ln>
          <a:effectLst/>
        </p:spPr>
      </p:cxnSp>
      <p:cxnSp>
        <p:nvCxnSpPr>
          <p:cNvPr id="106" name="肘形接點 105"/>
          <p:cNvCxnSpPr>
            <a:stCxn id="98" idx="3"/>
            <a:endCxn id="92" idx="1"/>
          </p:cNvCxnSpPr>
          <p:nvPr/>
        </p:nvCxnSpPr>
        <p:spPr bwMode="auto">
          <a:xfrm>
            <a:off x="6190593" y="3312243"/>
            <a:ext cx="355726" cy="420321"/>
          </a:xfrm>
          <a:prstGeom prst="bentConnector3">
            <a:avLst/>
          </a:prstGeom>
          <a:noFill/>
          <a:ln w="9525" cap="flat" cmpd="sng" algn="ctr">
            <a:solidFill>
              <a:srgbClr val="FF6600"/>
            </a:solidFill>
            <a:prstDash val="dash"/>
            <a:round/>
            <a:headEnd type="oval" w="med" len="med"/>
            <a:tailEnd type="none" w="med" len="med"/>
          </a:ln>
          <a:effectLst/>
        </p:spPr>
      </p:cxnSp>
      <p:cxnSp>
        <p:nvCxnSpPr>
          <p:cNvPr id="107" name="肘形接點 106"/>
          <p:cNvCxnSpPr>
            <a:stCxn id="91" idx="1"/>
            <a:endCxn id="95" idx="3"/>
          </p:cNvCxnSpPr>
          <p:nvPr/>
        </p:nvCxnSpPr>
        <p:spPr bwMode="auto">
          <a:xfrm rot="10800000">
            <a:off x="6190594" y="4021233"/>
            <a:ext cx="356261" cy="15142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none" w="med" len="med"/>
            <a:tailEnd type="oval" w="med" len="med"/>
          </a:ln>
          <a:effectLst/>
        </p:spPr>
      </p:cxnSp>
      <p:pic>
        <p:nvPicPr>
          <p:cNvPr id="112" name="Picture 3" descr="C:\Users\Z00044610\Downloads\crow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31824">
            <a:off x="7108957" y="2504610"/>
            <a:ext cx="581167" cy="581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文字方塊 112"/>
          <p:cNvSpPr txBox="1"/>
          <p:nvPr/>
        </p:nvSpPr>
        <p:spPr>
          <a:xfrm>
            <a:off x="5100475" y="5312750"/>
            <a:ext cx="1238410" cy="87716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總戶數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2.7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en-US" altLang="zh-TW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>
              <a:lnSpc>
                <a:spcPct val="150000"/>
              </a:lnSpc>
            </a:pP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20.3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</a:t>
            </a:r>
          </a:p>
          <a:p>
            <a:pPr algn="l">
              <a:lnSpc>
                <a:spcPct val="150000"/>
              </a:lnSpc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5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5" name="文字方塊 114"/>
          <p:cNvSpPr txBox="1"/>
          <p:nvPr/>
        </p:nvSpPr>
        <p:spPr>
          <a:xfrm>
            <a:off x="7266216" y="5380996"/>
            <a:ext cx="82619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版模型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單數</a:t>
            </a:r>
            <a:endParaRPr lang="en-US" altLang="zh-TW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8" name="文字方塊 117"/>
          <p:cNvSpPr txBox="1"/>
          <p:nvPr/>
        </p:nvSpPr>
        <p:spPr>
          <a:xfrm>
            <a:off x="8210055" y="5305993"/>
            <a:ext cx="1238410" cy="87716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總戶數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9.8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en-US" altLang="zh-TW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>
              <a:lnSpc>
                <a:spcPct val="150000"/>
              </a:lnSpc>
            </a:pP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22.1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</a:t>
            </a:r>
          </a:p>
          <a:p>
            <a:pPr algn="l">
              <a:lnSpc>
                <a:spcPct val="150000"/>
              </a:lnSpc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5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6" name="矩形 115"/>
          <p:cNvSpPr/>
          <p:nvPr/>
        </p:nvSpPr>
        <p:spPr>
          <a:xfrm>
            <a:off x="6467020" y="5913077"/>
            <a:ext cx="1572197" cy="2948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驗證時點：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909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0" name="橢圓 119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lang="en-US" altLang="zh-TW" sz="2700" b="1" dirty="0"/>
              <a:t>0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242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 bwMode="auto">
          <a:xfrm>
            <a:off x="471223" y="1381125"/>
            <a:ext cx="9072828" cy="20467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l" defTabSz="889000">
              <a:spcBef>
                <a:spcPts val="600"/>
              </a:spcBef>
              <a:buFont typeface="+mj-lt"/>
              <a:buAutoNum type="arabicPeriod"/>
            </a:pP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分模型架構：針對各產品建立需求分</a:t>
            </a:r>
            <a:endParaRPr lang="en-US" altLang="zh-TW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 algn="l" defTabSz="889000">
              <a:spcBef>
                <a:spcPts val="600"/>
              </a:spcBef>
              <a:buFont typeface="+mj-lt"/>
              <a:buAutoNum type="arabicPeriod"/>
            </a:pP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風險變動分 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4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張子卡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及</a:t>
            </a: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需求分完成開發，</a:t>
            </a:r>
            <a:r>
              <a:rPr lang="zh-TW" altLang="en-US" sz="16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共完成 </a:t>
            </a:r>
            <a:r>
              <a:rPr lang="en-US" altLang="zh-TW" sz="16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個</a:t>
            </a: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模型研發</a:t>
            </a:r>
            <a:endParaRPr lang="en-US" altLang="zh-TW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 algn="l" defTabSz="889000">
              <a:spcBef>
                <a:spcPts val="600"/>
              </a:spcBef>
              <a:buFont typeface="+mj-lt"/>
              <a:buAutoNum type="arabicPeriod"/>
            </a:pP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風險變動分上線，提供覆審進行評估</a:t>
            </a:r>
            <a:endParaRPr lang="en-US" altLang="zh-TW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marR="0" indent="-342900" algn="l" defTabSz="889000" rtl="0" eaLnBrk="1" fontAlgn="base" latinLnBrk="0" hangingPunct="1">
              <a:spcBef>
                <a:spcPts val="600"/>
              </a:spcBef>
              <a:buFont typeface="+mj-lt"/>
              <a:buAutoNum type="arabicPeriod"/>
            </a:pP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需求分上線，提供 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BU</a:t>
            </a: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進行測試</a:t>
            </a:r>
            <a:endParaRPr lang="en-US" altLang="zh-TW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 algn="l" defTabSz="889000">
              <a:spcBef>
                <a:spcPts val="600"/>
              </a:spcBef>
              <a:buFont typeface="+mj-lt"/>
              <a:buAutoNum type="arabicPeriod"/>
            </a:pP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風險變動</a:t>
            </a: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分模型追蹤方式</a:t>
            </a:r>
            <a:endParaRPr lang="en-US" altLang="zh-TW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 algn="l" defTabSz="889000">
              <a:spcBef>
                <a:spcPts val="600"/>
              </a:spcBef>
              <a:buFont typeface="+mj-lt"/>
              <a:buAutoNum type="arabicPeriod"/>
            </a:pP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/>
                <a:ea typeface="微軟正黑體"/>
              </a:rPr>
              <a:t>變動分子卡</a:t>
            </a: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/>
                <a:ea typeface="微軟正黑體"/>
              </a:rPr>
              <a:t>「</a:t>
            </a: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與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本行有信貸</a:t>
            </a: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往來</a:t>
            </a:r>
            <a:r>
              <a:rPr lang="zh-TW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/>
                <a:ea typeface="微軟正黑體"/>
              </a:rPr>
              <a:t>」，可用 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/>
                <a:ea typeface="微軟正黑體"/>
              </a:rPr>
              <a:t>5 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/>
                <a:ea typeface="微軟正黑體"/>
              </a:rPr>
              <a:t>分以上需求覆蓋率 </a:t>
            </a:r>
            <a:r>
              <a:rPr lang="en-US" altLang="zh-TW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/>
                <a:ea typeface="微軟正黑體"/>
              </a:rPr>
              <a:t>&gt;90% </a:t>
            </a:r>
            <a:r>
              <a:rPr lang="zh-TW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/>
                <a:ea typeface="微軟正黑體"/>
              </a:rPr>
              <a:t>做為評估此模型之標準</a:t>
            </a:r>
            <a:endParaRPr lang="en-US" altLang="zh-TW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471221" y="949524"/>
            <a:ext cx="9072830" cy="400110"/>
          </a:xfrm>
          <a:prstGeom prst="rect">
            <a:avLst/>
          </a:prstGeom>
          <a:solidFill>
            <a:srgbClr val="009592"/>
          </a:solidFill>
        </p:spPr>
        <p:txBody>
          <a:bodyPr wrap="none">
            <a:noAutofit/>
          </a:bodyPr>
          <a:lstStyle/>
          <a:p>
            <a:pPr algn="l"/>
            <a:r>
              <a:rPr lang="zh-TW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核示項目</a:t>
            </a:r>
            <a:endParaRPr lang="zh-TW" altLang="en-US" sz="2000" b="1" dirty="0">
              <a:solidFill>
                <a:schemeClr val="bg1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71223" y="3483400"/>
            <a:ext cx="9072828" cy="400110"/>
          </a:xfrm>
          <a:prstGeom prst="rect">
            <a:avLst/>
          </a:prstGeom>
          <a:solidFill>
            <a:srgbClr val="009592"/>
          </a:solidFill>
        </p:spPr>
        <p:txBody>
          <a:bodyPr wrap="none">
            <a:noAutofit/>
          </a:bodyPr>
          <a:lstStyle/>
          <a:p>
            <a:pPr algn="l"/>
            <a:r>
              <a:rPr lang="zh-TW" altLang="en-US" sz="2000" b="1" dirty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模型</a:t>
            </a:r>
            <a:r>
              <a:rPr lang="zh-TW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追蹤方式</a:t>
            </a:r>
            <a:endParaRPr lang="zh-TW" altLang="en-US" sz="2000" b="1" dirty="0">
              <a:solidFill>
                <a:schemeClr val="bg1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834341"/>
              </p:ext>
            </p:extLst>
          </p:nvPr>
        </p:nvGraphicFramePr>
        <p:xfrm>
          <a:off x="500459" y="3983888"/>
          <a:ext cx="9043592" cy="2312196"/>
        </p:xfrm>
        <a:graphic>
          <a:graphicData uri="http://schemas.openxmlformats.org/drawingml/2006/table">
            <a:tbl>
              <a:tblPr/>
              <a:tblGrid>
                <a:gridCol w="1518841"/>
                <a:gridCol w="3393542"/>
                <a:gridCol w="4131209"/>
              </a:tblGrid>
              <a:tr h="424689"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監控項目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信貸風險變動分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信貸需求分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</a:tr>
              <a:tr h="424689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子卡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</a:tr>
              <a:tr h="4876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GINI(&gt;40%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6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                         </a:t>
                      </a:r>
                      <a:r>
                        <a:rPr lang="en-US" sz="16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V </a:t>
                      </a:r>
                      <a:r>
                        <a:rPr lang="en-US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38% ~ 71%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6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           </a:t>
                      </a:r>
                      <a:r>
                        <a:rPr lang="en-US" sz="16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V </a:t>
                      </a:r>
                      <a:r>
                        <a:rPr lang="en-US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80%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</a:tr>
              <a:tr h="48760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分以上覆蓋率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6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                         </a:t>
                      </a:r>
                      <a:r>
                        <a:rPr lang="en-US" sz="16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V </a:t>
                      </a:r>
                      <a:r>
                        <a:rPr lang="en-US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40% ~ 99%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6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           </a:t>
                      </a:r>
                      <a:r>
                        <a:rPr lang="en-US" sz="16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V </a:t>
                      </a:r>
                      <a:r>
                        <a:rPr lang="en-US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90%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</a:tr>
              <a:tr h="4876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PSI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V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V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</a:tr>
            </a:tbl>
          </a:graphicData>
        </a:graphic>
      </p:graphicFrame>
      <p:sp>
        <p:nvSpPr>
          <p:cNvPr id="9" name="標題 1"/>
          <p:cNvSpPr>
            <a:spLocks noGrp="1"/>
          </p:cNvSpPr>
          <p:nvPr>
            <p:ph type="title"/>
          </p:nvPr>
        </p:nvSpPr>
        <p:spPr>
          <a:xfrm>
            <a:off x="803082" y="209496"/>
            <a:ext cx="8364995" cy="505227"/>
          </a:xfrm>
        </p:spPr>
        <p:txBody>
          <a:bodyPr/>
          <a:lstStyle/>
          <a:p>
            <a:r>
              <a:rPr lang="zh-TW" altLang="en-US" dirty="0" smtClean="0"/>
              <a:t>呈請核示</a:t>
            </a:r>
            <a:endParaRPr lang="zh-TW" altLang="en-US" dirty="0"/>
          </a:p>
        </p:txBody>
      </p:sp>
      <p:sp>
        <p:nvSpPr>
          <p:cNvPr id="10" name="橢圓 9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lang="en-US" altLang="zh-TW" sz="2700" b="1" dirty="0"/>
              <a:t>6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638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0" y="2482850"/>
            <a:ext cx="9906000" cy="1892300"/>
          </a:xfrm>
          <a:solidFill>
            <a:srgbClr val="009999"/>
          </a:solidFill>
        </p:spPr>
        <p:txBody>
          <a:bodyPr anchor="ctr" anchorCtr="0"/>
          <a:lstStyle/>
          <a:p>
            <a:pPr algn="ctr"/>
            <a:r>
              <a:rPr lang="zh-TW" altLang="en-US" sz="3700" dirty="0" smtClean="0">
                <a:solidFill>
                  <a:schemeClr val="bg1"/>
                </a:solidFill>
              </a:rPr>
              <a:t>以上報告，呈請　同意新信貸分迭代</a:t>
            </a:r>
            <a:endParaRPr lang="zh-TW" altLang="en-US" sz="3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826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模型研發結果：信貸風險變動分</a:t>
            </a:r>
            <a:r>
              <a:rPr lang="en-US" altLang="zh-TW" dirty="0"/>
              <a:t> </a:t>
            </a:r>
            <a:r>
              <a:rPr lang="en-US" altLang="zh-TW" dirty="0" smtClean="0"/>
              <a:t>( </a:t>
            </a:r>
            <a:r>
              <a:rPr lang="zh-TW" altLang="en-US" dirty="0" smtClean="0"/>
              <a:t>四張子卡 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4" name="矩形 3"/>
          <p:cNvSpPr/>
          <p:nvPr/>
        </p:nvSpPr>
        <p:spPr bwMode="auto">
          <a:xfrm>
            <a:off x="0" y="781050"/>
            <a:ext cx="9906000" cy="6076950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aphicFrame>
        <p:nvGraphicFramePr>
          <p:cNvPr id="6" name="表格 5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09535585"/>
              </p:ext>
            </p:extLst>
          </p:nvPr>
        </p:nvGraphicFramePr>
        <p:xfrm>
          <a:off x="152151" y="910000"/>
          <a:ext cx="9626549" cy="58680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1982"/>
                <a:gridCol w="783283"/>
                <a:gridCol w="687631"/>
                <a:gridCol w="687631"/>
                <a:gridCol w="687631"/>
                <a:gridCol w="687599"/>
                <a:gridCol w="687599"/>
                <a:gridCol w="687599"/>
                <a:gridCol w="687599"/>
                <a:gridCol w="687599"/>
                <a:gridCol w="687599"/>
                <a:gridCol w="687599"/>
                <a:gridCol w="687599"/>
                <a:gridCol w="687599"/>
              </a:tblGrid>
              <a:tr h="267283">
                <a:tc rowSpan="2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u="none" strike="noStrike" dirty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分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</a:t>
                      </a:r>
                      <a:endParaRPr lang="en-US" altLang="zh-TW" sz="1100" b="1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 fontAlgn="b"/>
                      <a:r>
                        <a:rPr 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RANG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子卡 </a:t>
                      </a:r>
                      <a:r>
                        <a:rPr lang="en-US" altLang="zh-TW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</a:t>
                      </a:r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：與本行有信貸往來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子卡 </a:t>
                      </a:r>
                      <a:r>
                        <a:rPr lang="en-US" altLang="zh-TW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：非與本行有信貸往來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子卡 </a:t>
                      </a:r>
                      <a:r>
                        <a:rPr lang="en-US" altLang="zh-TW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</a:t>
                      </a:r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：無信貸 </a:t>
                      </a:r>
                      <a:r>
                        <a:rPr lang="en-US" altLang="zh-TW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Non </a:t>
                      </a:r>
                      <a:r>
                        <a:rPr lang="en-US" altLang="zh-TW" sz="11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Transactor</a:t>
                      </a:r>
                      <a:endParaRPr lang="zh-TW" altLang="en-US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子卡 </a:t>
                      </a:r>
                      <a:r>
                        <a:rPr lang="en-US" altLang="zh-TW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</a:t>
                      </a:r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：無信貸 </a:t>
                      </a:r>
                      <a:r>
                        <a:rPr lang="en-US" altLang="zh-TW" sz="11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Transactor</a:t>
                      </a:r>
                      <a:endParaRPr lang="zh-TW" altLang="en-US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altLang="zh-TW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altLang="zh-TW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</a:tr>
              <a:tr h="398578">
                <a:tc v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人數</a:t>
                      </a:r>
                      <a:endParaRPr lang="en-US" altLang="zh-TW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人數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人數</a:t>
                      </a:r>
                      <a:endParaRPr lang="en-US" altLang="zh-TW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人數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人數</a:t>
                      </a:r>
                      <a:endParaRPr lang="en-US" altLang="zh-TW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人數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人數</a:t>
                      </a:r>
                      <a:endParaRPr lang="en-US" altLang="zh-TW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人數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gt;30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7.5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,71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39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0.7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8.2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,496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5%~30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7.8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,65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96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6.9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9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%~25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3.1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,92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75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2.4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0,01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,24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7.9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1,18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,006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7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%~20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.7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,68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89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%~18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.9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,99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87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7.4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,561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496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3.8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,419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8.6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%~16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.9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,53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.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1,519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755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%~14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.6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,15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78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3.5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0,820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464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.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,65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532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%~12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.8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,11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27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1.6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3,239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541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0.8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,269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%~10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.6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,57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59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.3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2,850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,059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.5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2,403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,77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.9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904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%~8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.5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,73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.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4,09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892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.8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4,101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%~7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.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,04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.5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4,65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612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.6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%~6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.1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,19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.0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8,630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131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.7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8,273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,789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.8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,026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%~5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.0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85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.9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2,140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100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.6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7,003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%~4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.4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62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.1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6,936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,622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.9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5,164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804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.7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,393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%~3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.8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01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.7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7,338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,098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.0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03,16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,11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.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,85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%~2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6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3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88,59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,534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7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39,442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,219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1,154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5%~1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50" b="0" i="0" u="none" strike="noStrike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TW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zh-TW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6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2,654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7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36,718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,660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6,895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2%~0.5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7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95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7,512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16,645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840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4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19,52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1%~0.2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4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0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1,259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1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77,907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46,522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17690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lt;0.1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TW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TW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TW" alt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0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47,203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0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201,055</a:t>
                      </a:r>
                      <a:endParaRPr lang="en-US" altLang="zh-TW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690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/>
                        </a:rPr>
                        <a:t>Total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zh-TW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.39%</a:t>
                      </a:r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4,957</a:t>
                      </a:r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62,175</a:t>
                      </a:r>
                      <a:endParaRPr lang="zh-TW" altLang="en-US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.28%</a:t>
                      </a:r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7,190</a:t>
                      </a:r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34,977</a:t>
                      </a:r>
                      <a:endParaRPr lang="zh-TW" altLang="en-US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19%</a:t>
                      </a:r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,314,054</a:t>
                      </a:r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7,572</a:t>
                      </a:r>
                      <a:endParaRPr lang="zh-TW" altLang="en-US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21%</a:t>
                      </a:r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658,080</a:t>
                      </a:r>
                      <a:endParaRPr lang="zh-TW" alt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,559</a:t>
                      </a:r>
                      <a:endParaRPr lang="zh-TW" altLang="en-US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矩形 6"/>
          <p:cNvSpPr/>
          <p:nvPr/>
        </p:nvSpPr>
        <p:spPr>
          <a:xfrm>
            <a:off x="6978770" y="476557"/>
            <a:ext cx="2927230" cy="307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auto">
              <a:lnSpc>
                <a:spcPct val="130000"/>
              </a:lnSpc>
            </a:pPr>
            <a:r>
              <a:rPr lang="zh-TW" altLang="en-US" sz="12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資料時點：</a:t>
            </a:r>
            <a:r>
              <a:rPr lang="en-US" altLang="zh-TW" sz="12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19/12</a:t>
            </a:r>
          </a:p>
        </p:txBody>
      </p:sp>
    </p:spTree>
    <p:extLst>
      <p:ext uri="{BB962C8B-B14F-4D97-AF65-F5344CB8AC3E}">
        <p14:creationId xmlns:p14="http://schemas.microsoft.com/office/powerpoint/2010/main" val="374651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模型研發結果：信貸</a:t>
            </a:r>
            <a:r>
              <a:rPr lang="zh-TW" altLang="en-US" dirty="0"/>
              <a:t>需求分</a:t>
            </a:r>
          </a:p>
        </p:txBody>
      </p:sp>
      <p:sp>
        <p:nvSpPr>
          <p:cNvPr id="4" name="矩形 3"/>
          <p:cNvSpPr/>
          <p:nvPr/>
        </p:nvSpPr>
        <p:spPr bwMode="auto">
          <a:xfrm>
            <a:off x="0" y="781050"/>
            <a:ext cx="9906000" cy="6076950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6388800"/>
              </p:ext>
            </p:extLst>
          </p:nvPr>
        </p:nvGraphicFramePr>
        <p:xfrm>
          <a:off x="344490" y="1009721"/>
          <a:ext cx="9145011" cy="5395291"/>
        </p:xfrm>
        <a:graphic>
          <a:graphicData uri="http://schemas.openxmlformats.org/drawingml/2006/table">
            <a:tbl>
              <a:tblPr/>
              <a:tblGrid>
                <a:gridCol w="792087"/>
                <a:gridCol w="1080120"/>
                <a:gridCol w="606067"/>
                <a:gridCol w="606067"/>
                <a:gridCol w="606067"/>
                <a:gridCol w="606067"/>
                <a:gridCol w="606067"/>
                <a:gridCol w="606067"/>
                <a:gridCol w="606067"/>
                <a:gridCol w="606067"/>
                <a:gridCol w="606067"/>
                <a:gridCol w="606067"/>
                <a:gridCol w="606067"/>
                <a:gridCol w="606067"/>
              </a:tblGrid>
              <a:tr h="218261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Score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現行模型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現行模型包絡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新版模型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新版模型包絡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</a:tr>
              <a:tr h="21085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分數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數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戶數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數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戶數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數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戶數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數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戶數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</a:tr>
              <a:tr h="218261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區間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0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&gt;30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9.7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16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,96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6.0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,62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,60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5.8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,89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,46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9.5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,03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3,98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9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5% ~ 30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.7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52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97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7.5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68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,39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7.6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75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,55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1.3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25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,21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8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0% ~ 25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.4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12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69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2.9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52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,71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1.1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,01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3,12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.6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,93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,15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7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8% ~ 20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6.3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57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,59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.3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24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1,88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.7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89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,68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7.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15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,34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6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6% ~ 18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1.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,63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6,54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.0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51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,92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.7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93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9,42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7.2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50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,74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4% ~ 16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.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48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,12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.4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69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3,83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.1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73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,05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.8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94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,64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4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% ~ 14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7.2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,06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9,26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.7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,96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0,52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.0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78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6,63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.7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82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7,91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3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0% ~ 12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.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30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,05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.2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,28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6,94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.6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38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7,62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.9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42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7,09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% ~ 10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.7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37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7,27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.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,74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9,48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.0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,60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3,73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.8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,36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4,31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1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% ~ 8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.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71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,23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.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52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,70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.6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43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4,93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.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61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7,85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0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% ~ 7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.9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99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3,37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.6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00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,16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.7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42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6,00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.0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61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7,11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% ~ 6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.8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27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,94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.4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,31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6,13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.8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69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0,12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.7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38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5,25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% ~ 5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.5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40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5,60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.7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45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,84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.8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03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2,00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.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78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5,86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% ~ 4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.3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,54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59,17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.1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03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9,09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.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,75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0,12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.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,49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7,75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% ~ 3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.5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,93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81,58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.1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96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4,48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.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,60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6,37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.1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,83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6,455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% ~ 2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8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,34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45,18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9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,92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09,10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5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,34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70,16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7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,12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26,26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5% ~ 1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9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44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48,56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6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,11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117,679</a:t>
                      </a:r>
                      <a:endParaRPr lang="en-US" altLang="zh-TW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7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01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86,26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7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99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85,03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124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2% ~ 0.5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4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70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68,74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3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62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05,64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3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610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06,23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865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1% ~ 0.2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2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382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37,721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2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423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54,92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1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544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36,10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1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54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41,256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&lt;0.1%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0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28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876,667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0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23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857,836</a:t>
                      </a:r>
                      <a:endParaRPr lang="en-US" altLang="zh-TW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0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448,258</a:t>
                      </a:r>
                      <a:endParaRPr lang="en-US" altLang="zh-TW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0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441,785</a:t>
                      </a:r>
                      <a:endParaRPr lang="en-US" altLang="zh-TW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Font typeface="Wingdings"/>
                        <a:buNone/>
                      </a:pPr>
                      <a:r>
                        <a:rPr lang="en-US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&gt; 4</a:t>
                      </a:r>
                      <a:r>
                        <a:rPr lang="zh-TW" altLang="en-US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分</a:t>
                      </a:r>
                      <a:endParaRPr lang="en-US" sz="105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&gt;</a:t>
                      </a:r>
                      <a:r>
                        <a:rPr lang="zh-TW" altLang="en-US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</a:t>
                      </a:r>
                      <a:r>
                        <a:rPr lang="en-US" altLang="zh-TW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%</a:t>
                      </a:r>
                      <a:endParaRPr lang="zh-TW" altLang="en-US" sz="1050" b="1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.4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3,457</a:t>
                      </a:r>
                      <a:endParaRPr lang="en-US" altLang="zh-TW" sz="1000" b="1" i="0" u="none" strike="noStrike" dirty="0">
                        <a:solidFill>
                          <a:srgbClr val="C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9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137,590</a:t>
                      </a:r>
                      <a:endParaRPr lang="en-US" altLang="zh-TW" sz="900" b="1" i="0" u="none" strike="noStrike" dirty="0">
                        <a:solidFill>
                          <a:srgbClr val="C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.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3,499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138,844</a:t>
                      </a:r>
                      <a:endParaRPr lang="en-US" altLang="zh-TW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.8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5,26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293,011</a:t>
                      </a:r>
                      <a:endParaRPr lang="en-US" altLang="zh-TW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.8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5,300</a:t>
                      </a:r>
                      <a:endParaRPr lang="en-US" altLang="zh-TW" sz="1000" b="1" i="0" u="none" strike="noStrike" dirty="0">
                        <a:solidFill>
                          <a:srgbClr val="C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900" b="1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294,975</a:t>
                      </a:r>
                      <a:endParaRPr lang="en-US" altLang="zh-TW" sz="900" b="1" i="0" u="none" strike="noStrike" kern="1200" dirty="0">
                        <a:solidFill>
                          <a:srgbClr val="C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82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TOTAL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TW" alt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　</a:t>
                      </a:r>
                    </a:p>
                  </a:txBody>
                  <a:tcPr marL="7265" marR="7265" marT="726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3,27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769,286</a:t>
                      </a:r>
                      <a:endParaRPr lang="en-US" altLang="zh-TW" sz="10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3,27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,769,286</a:t>
                      </a:r>
                      <a:endParaRPr lang="en-US" altLang="zh-TW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3,27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,769,286</a:t>
                      </a:r>
                      <a:endParaRPr lang="en-US" altLang="zh-TW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3,278</a:t>
                      </a:r>
                      <a:endParaRPr lang="en-US" altLang="zh-TW" sz="105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,769,286</a:t>
                      </a:r>
                      <a:endParaRPr lang="en-US" altLang="zh-TW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9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矩形 6"/>
          <p:cNvSpPr/>
          <p:nvPr/>
        </p:nvSpPr>
        <p:spPr bwMode="auto">
          <a:xfrm>
            <a:off x="2199905" y="5940431"/>
            <a:ext cx="7323659" cy="269788"/>
          </a:xfrm>
          <a:prstGeom prst="rect">
            <a:avLst/>
          </a:prstGeom>
          <a:noFill/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6978770" y="476557"/>
            <a:ext cx="2927230" cy="307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auto">
              <a:lnSpc>
                <a:spcPct val="130000"/>
              </a:lnSpc>
            </a:pPr>
            <a:r>
              <a:rPr lang="zh-TW" altLang="en-US" sz="12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資料時點：</a:t>
            </a:r>
            <a:r>
              <a:rPr lang="en-US" altLang="zh-TW" sz="12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19/12</a:t>
            </a:r>
          </a:p>
        </p:txBody>
      </p:sp>
    </p:spTree>
    <p:extLst>
      <p:ext uri="{BB962C8B-B14F-4D97-AF65-F5344CB8AC3E}">
        <p14:creationId xmlns:p14="http://schemas.microsoft.com/office/powerpoint/2010/main" val="843297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標題 1"/>
          <p:cNvSpPr txBox="1">
            <a:spLocks/>
          </p:cNvSpPr>
          <p:nvPr/>
        </p:nvSpPr>
        <p:spPr>
          <a:xfrm>
            <a:off x="0" y="-30435"/>
            <a:ext cx="9906000" cy="576064"/>
          </a:xfrm>
          <a:prstGeom prst="rect">
            <a:avLst/>
          </a:prstGeom>
          <a:solidFill>
            <a:srgbClr val="008080"/>
          </a:solidFill>
        </p:spPr>
        <p:txBody>
          <a:bodyPr vert="horz" lIns="91440" tIns="45720" rIns="91440" bIns="45720" rtlCol="0" anchor="ctr">
            <a:normAutofit/>
          </a:bodyPr>
          <a:lstStyle>
            <a:lvl1pPr marL="0" indent="180975" algn="l" defTabSz="914400" rtl="0" eaLnBrk="1" latinLnBrk="0" hangingPunct="1">
              <a:spcBef>
                <a:spcPct val="0"/>
              </a:spcBef>
              <a:buNone/>
              <a:defRPr kumimoji="0" lang="zh-TW" altLang="en-US" sz="27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defRPr>
            </a:lvl1pPr>
          </a:lstStyle>
          <a:p>
            <a:pPr fontAlgn="auto">
              <a:defRPr/>
            </a:pPr>
            <a:r>
              <a:rPr dirty="0">
                <a:solidFill>
                  <a:prstClr val="white"/>
                </a:solidFill>
              </a:rPr>
              <a:t>模型</a:t>
            </a:r>
            <a:r>
              <a:rPr dirty="0" smtClean="0">
                <a:solidFill>
                  <a:prstClr val="white"/>
                </a:solidFill>
              </a:rPr>
              <a:t>開發結果 </a:t>
            </a:r>
            <a:r>
              <a:rPr lang="en-US" altLang="zh-TW" dirty="0" smtClean="0">
                <a:solidFill>
                  <a:prstClr val="white"/>
                </a:solidFill>
              </a:rPr>
              <a:t>-</a:t>
            </a:r>
            <a:r>
              <a:rPr lang="zh-TW" altLang="en-US" dirty="0" smtClean="0">
                <a:solidFill>
                  <a:prstClr val="white"/>
                </a:solidFill>
              </a:rPr>
              <a:t> </a:t>
            </a:r>
            <a:r>
              <a:rPr dirty="0" smtClean="0">
                <a:solidFill>
                  <a:srgbClr val="FFFFFF"/>
                </a:solidFill>
              </a:rPr>
              <a:t>模型包絡</a:t>
            </a:r>
            <a:r>
              <a:rPr lang="zh-TW" altLang="en-US" dirty="0" smtClean="0">
                <a:solidFill>
                  <a:srgbClr val="FFFFFF"/>
                </a:solidFill>
              </a:rPr>
              <a:t> </a:t>
            </a:r>
            <a:r>
              <a:rPr lang="en-US" altLang="zh-TW" dirty="0" smtClean="0">
                <a:solidFill>
                  <a:srgbClr val="FFFFFF"/>
                </a:solidFill>
              </a:rPr>
              <a:t>x </a:t>
            </a:r>
            <a:r>
              <a:rPr lang="en-US" altLang="zh-TW" dirty="0">
                <a:solidFill>
                  <a:srgbClr val="FFFFFF"/>
                </a:solidFill>
              </a:rPr>
              <a:t>TM</a:t>
            </a:r>
            <a:r>
              <a:rPr lang="zh-TW" altLang="en-US" dirty="0">
                <a:solidFill>
                  <a:srgbClr val="FFFFFF"/>
                </a:solidFill>
              </a:rPr>
              <a:t>可行銷名單</a:t>
            </a:r>
          </a:p>
        </p:txBody>
      </p:sp>
      <p:sp>
        <p:nvSpPr>
          <p:cNvPr id="11" name="矩形 10"/>
          <p:cNvSpPr/>
          <p:nvPr/>
        </p:nvSpPr>
        <p:spPr>
          <a:xfrm>
            <a:off x="164469" y="703948"/>
            <a:ext cx="9566937" cy="6524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 fontAlgn="auto">
              <a:lnSpc>
                <a:spcPct val="130000"/>
              </a:lnSpc>
              <a:buFont typeface="Wingdings" panose="05000000000000000000" pitchFamily="2" charset="2"/>
              <a:buChar char="n"/>
            </a:pPr>
            <a:r>
              <a:rPr lang="zh-TW" altLang="en-US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完成信貸風險變動分包絡，重要變數不含 </a:t>
            </a:r>
            <a:r>
              <a:rPr lang="en-US" altLang="zh-TW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JCIC</a:t>
            </a:r>
            <a:r>
              <a:rPr lang="zh-TW" altLang="en-US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資料，整體新版模型包絡優於現行模型，</a:t>
            </a: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高需求戶數多增加約 </a:t>
            </a:r>
            <a:r>
              <a:rPr lang="en-US" altLang="zh-TW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5.7</a:t>
            </a: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萬戶</a:t>
            </a:r>
            <a:r>
              <a:rPr lang="zh-TW" altLang="en-US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en-US" altLang="zh-TW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TM</a:t>
            </a: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單可行銷名單增加約 </a:t>
            </a:r>
            <a:r>
              <a:rPr lang="en-US" altLang="zh-TW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2.7</a:t>
            </a: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萬戶</a:t>
            </a:r>
            <a:r>
              <a:rPr lang="zh-TW" altLang="en-US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多捕捉 </a:t>
            </a:r>
            <a:r>
              <a:rPr lang="en-US" altLang="zh-TW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4</a:t>
            </a:r>
            <a:r>
              <a:rPr lang="zh-TW" altLang="en-US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千戶有需求客戶，增加名單需求率約 </a:t>
            </a:r>
            <a:r>
              <a:rPr lang="en-US" altLang="zh-TW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1%</a:t>
            </a:r>
            <a:r>
              <a:rPr lang="zh-TW" altLang="en-US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en-US" altLang="zh-TW" dirty="0" smtClean="0">
              <a:solidFill>
                <a:srgbClr val="000000">
                  <a:lumMod val="85000"/>
                  <a:lumOff val="15000"/>
                </a:srgb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5037111"/>
              </p:ext>
            </p:extLst>
          </p:nvPr>
        </p:nvGraphicFramePr>
        <p:xfrm>
          <a:off x="164470" y="1613089"/>
          <a:ext cx="9577055" cy="4744795"/>
        </p:xfrm>
        <a:graphic>
          <a:graphicData uri="http://schemas.openxmlformats.org/drawingml/2006/table">
            <a:tbl>
              <a:tblPr/>
              <a:tblGrid>
                <a:gridCol w="635213"/>
                <a:gridCol w="635213"/>
                <a:gridCol w="635213"/>
                <a:gridCol w="635213"/>
                <a:gridCol w="635213"/>
                <a:gridCol w="635213"/>
                <a:gridCol w="635213"/>
                <a:gridCol w="635213"/>
                <a:gridCol w="635213"/>
                <a:gridCol w="635213"/>
                <a:gridCol w="635213"/>
                <a:gridCol w="635213"/>
                <a:gridCol w="635213"/>
                <a:gridCol w="635213"/>
                <a:gridCol w="84292"/>
                <a:gridCol w="599781"/>
              </a:tblGrid>
              <a:tr h="320284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Score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現行</a:t>
                      </a:r>
                      <a:r>
                        <a:rPr lang="zh-TW" alt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模型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zh-TW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現行模型包絡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新模型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新模型包絡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</a:tr>
              <a:tr h="32028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分數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數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戶數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數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戶數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數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戶數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數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戶數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增幅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rtl="0" fontAlgn="ctr"/>
                      <a:endParaRPr lang="zh-TW" altLang="en-US" sz="1400" b="1" i="0" u="none" strike="noStrike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</a:tr>
              <a:tr h="320284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區間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76D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</a:tr>
              <a:tr h="3202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 smtClean="0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~20</a:t>
                      </a:r>
                      <a:endParaRPr lang="en-US" altLang="zh-TW" sz="1200" b="1" i="0" u="none" strike="noStrike" dirty="0">
                        <a:solidFill>
                          <a:srgbClr val="292929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gt;7%</a:t>
                      </a:r>
                      <a:endParaRPr lang="en-US" altLang="zh-TW" sz="12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9.1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09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617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4.9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5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06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4.4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74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28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.8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2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1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66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04540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( +11100 )</a:t>
                      </a:r>
                      <a:r>
                        <a:rPr lang="zh-TW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2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~10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%~7%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.3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24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758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.3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7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328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.8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78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64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.2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3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1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28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2845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( -9257</a:t>
                      </a:r>
                      <a:r>
                        <a:rPr lang="en-US" altLang="zh-TW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</a:t>
                      </a:r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)</a:t>
                      </a:r>
                      <a:endParaRPr lang="zh-TW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zh-TW" altLang="en-US" sz="1400" b="1" i="0" u="none" strike="noStrike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2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 smtClean="0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~4</a:t>
                      </a:r>
                      <a:endParaRPr lang="en-US" altLang="zh-TW" sz="1200" b="1" i="0" u="none" strike="noStrike" dirty="0">
                        <a:solidFill>
                          <a:srgbClr val="292929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%~1%</a:t>
                      </a:r>
                      <a:endParaRPr lang="en-US" altLang="zh-TW" sz="12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2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8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631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2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7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630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2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476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2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9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474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-157385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( -1843 )</a:t>
                      </a:r>
                      <a:endParaRPr lang="zh-TW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zh-TW" altLang="en-US" sz="1400" b="1" i="0" u="none" strike="noStrike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2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TOTAL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200" b="1" i="0" u="none" strike="noStrike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7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32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769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7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32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769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7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32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769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7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32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769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zh-TW" altLang="en-US" sz="1400" b="1" i="0" u="none" strike="noStrike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2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gt;=5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200" b="1" i="0" u="none" strike="noStrike" dirty="0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.4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3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1375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.4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34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1388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.8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52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930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.8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5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949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1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7385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altLang="zh-TW" sz="1100" b="1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( +1843 </a:t>
                      </a:r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)</a:t>
                      </a:r>
                      <a:endParaRPr lang="zh-TW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zh-TW" altLang="en-US" sz="1400" b="1" i="0" u="none" strike="noStrike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7151">
                <a:tc gridSpan="16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TM</a:t>
                      </a:r>
                      <a:r>
                        <a:rPr lang="zh-TW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可行銷名單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</a:tr>
              <a:tr h="3202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 smtClean="0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~20</a:t>
                      </a:r>
                      <a:endParaRPr lang="en-US" altLang="zh-TW" sz="1200" b="1" i="0" u="none" strike="noStrike" dirty="0">
                        <a:solidFill>
                          <a:srgbClr val="292929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gt;7%</a:t>
                      </a:r>
                      <a:endParaRPr lang="en-US" altLang="zh-TW" sz="12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7.4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73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90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3.9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6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863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3.4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74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041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4.5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44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68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9090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( +7147 )</a:t>
                      </a:r>
                      <a:r>
                        <a:rPr lang="zh-TW" alt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2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~10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%~7%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.2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83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64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.3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9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780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.8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9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860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.1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25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23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8592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( -5768</a:t>
                      </a:r>
                      <a:r>
                        <a:rPr lang="en-US" altLang="zh-TW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</a:t>
                      </a:r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)</a:t>
                      </a:r>
                      <a:endParaRPr lang="zh-TW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2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 smtClean="0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~4</a:t>
                      </a:r>
                      <a:endParaRPr lang="en-US" altLang="zh-TW" sz="1200" b="1" i="0" u="none" strike="noStrike" dirty="0">
                        <a:solidFill>
                          <a:srgbClr val="292929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%~1%</a:t>
                      </a:r>
                      <a:endParaRPr lang="en-US" altLang="zh-TW" sz="12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2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251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2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5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250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2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2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1247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2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1236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-127682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( -1379 )</a:t>
                      </a:r>
                      <a:endParaRPr lang="zh-TW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2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TOTAL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200" b="1" i="0" u="none" strike="noStrike" dirty="0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7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21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0149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7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21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0149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7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21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0149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7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21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0149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2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200" b="1" i="0" u="none" strike="noStrike" dirty="0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gt;=5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200" b="1" i="0" u="none" strike="noStrike" dirty="0">
                          <a:solidFill>
                            <a:srgbClr val="292929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F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.9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56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636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.9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56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764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.2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69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902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.2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70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8913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TW" sz="1100" b="1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7682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altLang="zh-TW" sz="1100" b="1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( +1379 )</a:t>
                      </a:r>
                      <a:endParaRPr lang="zh-TW" altLang="en-US" sz="1100" b="1" i="0" u="none" strike="noStrike" dirty="0">
                        <a:solidFill>
                          <a:srgbClr val="C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998" marR="7998" marT="7998" marB="0" anchor="ctr">
                    <a:lnL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62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" name="矩形 15"/>
          <p:cNvSpPr/>
          <p:nvPr/>
        </p:nvSpPr>
        <p:spPr>
          <a:xfrm>
            <a:off x="7139119" y="1609902"/>
            <a:ext cx="2592288" cy="47800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/>
            <a:endParaRPr lang="zh-TW" altLang="en-US" sz="1800">
              <a:solidFill>
                <a:prstClr val="white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6521624" y="229498"/>
            <a:ext cx="3384376" cy="307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auto">
              <a:lnSpc>
                <a:spcPct val="130000"/>
              </a:lnSpc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資料時點：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19/12</a:t>
            </a:r>
          </a:p>
        </p:txBody>
      </p:sp>
    </p:spTree>
    <p:extLst>
      <p:ext uri="{BB962C8B-B14F-4D97-AF65-F5344CB8AC3E}">
        <p14:creationId xmlns:p14="http://schemas.microsoft.com/office/powerpoint/2010/main" val="741298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01865" y="142685"/>
            <a:ext cx="8366211" cy="505227"/>
          </a:xfrm>
        </p:spPr>
        <p:txBody>
          <a:bodyPr/>
          <a:lstStyle/>
          <a:p>
            <a:r>
              <a:rPr lang="zh-TW" altLang="en-US" dirty="0" smtClean="0"/>
              <a:t>模型效益回測</a:t>
            </a:r>
            <a:endParaRPr lang="zh-TW" altLang="en-US" dirty="0"/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6774132"/>
              </p:ext>
            </p:extLst>
          </p:nvPr>
        </p:nvGraphicFramePr>
        <p:xfrm>
          <a:off x="1664664" y="805878"/>
          <a:ext cx="6576672" cy="55245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000"/>
                <a:gridCol w="1248672"/>
                <a:gridCol w="1656000"/>
                <a:gridCol w="1548000"/>
                <a:gridCol w="1548000"/>
              </a:tblGrid>
              <a:tr h="576000">
                <a:tc rowSpan="2" gridSpan="2"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既有需求分應用</a:t>
                      </a:r>
                      <a:endParaRPr lang="en-US" altLang="zh-TW" sz="1600" b="1" dirty="0" smtClean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indent="84138" algn="l"/>
                      <a:r>
                        <a:rPr lang="zh-TW" altLang="zh-TW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•</a:t>
                      </a:r>
                      <a:r>
                        <a:rPr lang="zh-TW" altLang="en-US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09</a:t>
                      </a:r>
                      <a:r>
                        <a:rPr lang="zh-TW" altLang="en-US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客戶數</a:t>
                      </a:r>
                      <a:endParaRPr lang="en-US" altLang="zh-TW" sz="1600" b="1" dirty="0" smtClean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indent="84138" algn="l"/>
                      <a:r>
                        <a:rPr lang="zh-TW" altLang="zh-TW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•</a:t>
                      </a:r>
                      <a:r>
                        <a:rPr lang="zh-TW" altLang="en-US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Q4</a:t>
                      </a:r>
                      <a:r>
                        <a:rPr lang="zh-TW" altLang="en-US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需求率</a:t>
                      </a:r>
                      <a:endParaRPr lang="en-US" altLang="zh-TW" sz="1600" b="1" dirty="0" smtClean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indent="84138" algn="l"/>
                      <a:r>
                        <a:rPr lang="zh-TW" altLang="zh-TW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•</a:t>
                      </a:r>
                      <a:r>
                        <a:rPr lang="en-US" altLang="zh-TW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19Q4</a:t>
                      </a:r>
                      <a:r>
                        <a:rPr lang="en-US" altLang="zh-TW" sz="1600" b="1" baseline="0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撥貸金額</a:t>
                      </a:r>
                      <a:endParaRPr lang="zh-TW" altLang="en-US" sz="16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新信貸需求分</a:t>
                      </a:r>
                      <a:endParaRPr lang="zh-TW" altLang="en-US" sz="16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</a:tr>
              <a:tr h="576000">
                <a:tc gridSpan="2" vMerge="1">
                  <a:txBody>
                    <a:bodyPr/>
                    <a:lstStyle/>
                    <a:p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分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中分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低分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</a:tr>
              <a:tr h="624655">
                <a:tc gridSpan="2"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舊戶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2.8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6.6% / $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4.9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7.1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1.3% / $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2.5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2.1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0.3% / 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$0.2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4655">
                <a:tc gridSpan="2"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大潛力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2.0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3.5% / $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.2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0.3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1.3% / 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$2.4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3.0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0.9% / 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$0.4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4655">
                <a:tc rowSpan="2"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中</a:t>
                      </a:r>
                      <a:endParaRPr lang="en-US" altLang="zh-TW" sz="16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潛</a:t>
                      </a:r>
                      <a:endParaRPr lang="en-US" altLang="zh-TW" sz="16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力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非低風險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.2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4.5% / $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.4</a:t>
                      </a:r>
                      <a:r>
                        <a:rPr lang="en-US" altLang="zh-TW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E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2.3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1.3% / $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4.5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0.9</a:t>
                      </a:r>
                      <a:r>
                        <a:rPr lang="zh-TW" sz="16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0.8% / </a:t>
                      </a: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$0.2E)</a:t>
                      </a:r>
                      <a:endParaRPr lang="zh-TW" sz="16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</a:tr>
              <a:tr h="624655">
                <a:tc vMerge="1">
                  <a:txBody>
                    <a:bodyPr/>
                    <a:lstStyle/>
                    <a:p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低風險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0.01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3.1% / $55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3.9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1.1% / 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$0.8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9.6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0.7% / 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$2.9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4655">
                <a:tc rowSpan="2"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小</a:t>
                      </a:r>
                      <a:endParaRPr lang="en-US" altLang="zh-TW" sz="16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潛</a:t>
                      </a:r>
                      <a:endParaRPr lang="en-US" altLang="zh-TW" sz="16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力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非低風險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0.2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2.8% / 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$0.3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9.1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0.5% / $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2.2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.7</a:t>
                      </a:r>
                      <a:r>
                        <a:rPr lang="zh-TW" sz="16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0.2% / </a:t>
                      </a: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$0.1E)</a:t>
                      </a:r>
                      <a:endParaRPr lang="zh-TW" sz="16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</a:tr>
              <a:tr h="624655">
                <a:tc vMerge="1">
                  <a:txBody>
                    <a:bodyPr/>
                    <a:lstStyle/>
                    <a:p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低風險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0.01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5.2% / $223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5.7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0.5% / $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.3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41.9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0.1% / $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9.4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4655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TW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Non-Eligible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9.3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24.9% / $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203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54.5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4.7% / $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45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79.4</a:t>
                      </a:r>
                      <a:r>
                        <a:rPr lang="zh-TW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萬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(0.4% / $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7.9E)</a:t>
                      </a:r>
                      <a:endParaRPr lang="zh-TW" sz="1600" dirty="0"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矩形 7"/>
          <p:cNvSpPr/>
          <p:nvPr/>
        </p:nvSpPr>
        <p:spPr bwMode="auto">
          <a:xfrm>
            <a:off x="8474703" y="3179297"/>
            <a:ext cx="1378632" cy="1842870"/>
          </a:xfrm>
          <a:prstGeom prst="rect">
            <a:avLst/>
          </a:prstGeom>
          <a:solidFill>
            <a:srgbClr val="FF66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lang="en-US" altLang="zh-TW" sz="1600" b="1" u="sng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wap-out</a:t>
            </a:r>
            <a:r>
              <a:rPr lang="en-US" altLang="zh-TW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</a:p>
          <a:p>
            <a:pPr marL="0" marR="0" indent="0" algn="l" defTabSz="889000" rtl="0" eaLnBrk="1" fontAlgn="base" latinLnBrk="0" hangingPunct="1">
              <a:spcBef>
                <a:spcPts val="600"/>
              </a:spcBef>
            </a:pPr>
            <a:r>
              <a:rPr lang="zh-TW" altLang="en-US" sz="16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戶</a:t>
            </a:r>
            <a:r>
              <a:rPr lang="zh-TW" altLang="en-US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 </a:t>
            </a:r>
            <a:r>
              <a:rPr lang="en-US" altLang="zh-TW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.6</a:t>
            </a:r>
            <a:r>
              <a:rPr lang="zh-TW" altLang="en-US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en-US" altLang="zh-TW" sz="16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algn="l" defTabSz="889000" rtl="0" eaLnBrk="1" fontAlgn="base" latinLnBrk="0" hangingPunct="1"/>
            <a:r>
              <a:rPr kumimoji="0" lang="zh-TW" altLang="en-US" sz="1600" b="1" i="0" u="none" strike="noStrike" cap="none" normalizeH="0" baseline="0" dirty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需求</a:t>
            </a:r>
            <a:r>
              <a:rPr kumimoji="0" lang="zh-TW" altLang="en-US" sz="16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率</a:t>
            </a:r>
            <a:r>
              <a:rPr kumimoji="0" lang="zh-TW" altLang="en-US" sz="1600" b="1" i="0" u="none" strike="noStrike" cap="none" normalizeH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kumimoji="0" lang="en-US" altLang="zh-TW" sz="1600" b="1" i="0" u="none" strike="noStrike" cap="none" normalizeH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0.4%</a:t>
            </a:r>
            <a:endParaRPr kumimoji="0" lang="en-US" altLang="zh-TW" sz="1600" b="1" i="0" u="none" strike="noStrike" cap="none" normalizeH="0" baseline="0" dirty="0">
              <a:solidFill>
                <a:schemeClr val="bg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algn="l" defTabSz="889000" rtl="0" eaLnBrk="1" fontAlgn="base" latinLnBrk="0" hangingPunct="1"/>
            <a:r>
              <a:rPr kumimoji="0" lang="zh-TW" altLang="en-US" sz="16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撥貸額 </a:t>
            </a:r>
            <a:r>
              <a:rPr kumimoji="0" lang="en-US" altLang="zh-TW" sz="16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0.3E</a:t>
            </a:r>
            <a:endParaRPr kumimoji="0" lang="zh-TW" altLang="en-US" sz="1600" b="1" i="0" u="none" strike="noStrike" cap="none" normalizeH="0" baseline="0" dirty="0" smtClean="0">
              <a:solidFill>
                <a:schemeClr val="bg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" name="矩形 8"/>
          <p:cNvSpPr/>
          <p:nvPr/>
        </p:nvSpPr>
        <p:spPr bwMode="auto">
          <a:xfrm>
            <a:off x="112550" y="3840481"/>
            <a:ext cx="1378632" cy="189913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lang="en-US" altLang="zh-TW" sz="1600" b="1" u="sng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Swap-In </a:t>
            </a:r>
          </a:p>
          <a:p>
            <a:pPr marL="0" marR="0" indent="0" algn="l" defTabSz="889000" rtl="0" eaLnBrk="1" fontAlgn="base" latinLnBrk="0" hangingPunct="1">
              <a:spcBef>
                <a:spcPts val="600"/>
              </a:spcBef>
            </a:pP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客戶</a:t>
            </a:r>
            <a:r>
              <a:rPr lang="zh-TW" altLang="en-US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數 </a:t>
            </a:r>
            <a:r>
              <a:rPr lang="en-US" altLang="zh-TW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9.7</a:t>
            </a:r>
            <a:r>
              <a:rPr lang="zh-TW" altLang="en-US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en-US" altLang="zh-TW" sz="1600" b="1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algn="l" defTabSz="889000" rtl="0" eaLnBrk="1" fontAlgn="base" latinLnBrk="0" hangingPunct="1"/>
            <a:r>
              <a:rPr kumimoji="0" lang="zh-TW" altLang="en-US" sz="1600" b="1" i="0" u="none" strike="noStrike" cap="none" normalizeH="0" baseline="0" dirty="0"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需求</a:t>
            </a:r>
            <a:r>
              <a:rPr kumimoji="0" lang="zh-TW" altLang="en-US" sz="1600" b="1" i="0" u="none" strike="noStrike" cap="none" normalizeH="0" baseline="0" dirty="0" smtClean="0"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率 0</a:t>
            </a:r>
            <a:r>
              <a:rPr kumimoji="0" lang="en-US" altLang="zh-TW" sz="1600" b="1" i="0" u="none" strike="noStrike" cap="none" normalizeH="0" baseline="0" dirty="0" smtClean="0"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.75%</a:t>
            </a:r>
            <a:endParaRPr kumimoji="0" lang="en-US" altLang="zh-TW" sz="1600" b="1" i="0" u="none" strike="noStrike" cap="none" normalizeH="0" baseline="0" dirty="0"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algn="l" defTabSz="889000" rtl="0" eaLnBrk="1" fontAlgn="base" latinLnBrk="0" hangingPunct="1"/>
            <a:r>
              <a:rPr kumimoji="0" lang="zh-TW" altLang="en-US" sz="1600" b="1" i="0" u="none" strike="noStrike" cap="none" normalizeH="0" baseline="0" dirty="0" smtClean="0"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撥貸額 </a:t>
            </a:r>
            <a:r>
              <a:rPr lang="en-US" altLang="zh-TW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2.1</a:t>
            </a:r>
            <a:r>
              <a:rPr kumimoji="0" lang="en-US" altLang="zh-TW" sz="1600" b="1" i="0" u="none" strike="noStrike" cap="none" normalizeH="0" baseline="0" dirty="0" smtClean="0"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E</a:t>
            </a:r>
            <a:endParaRPr kumimoji="0" lang="zh-TW" altLang="en-US" sz="1600" b="1" i="0" u="none" strike="noStrike" cap="none" normalizeH="0" baseline="0" dirty="0" smtClean="0"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12" name="直線接點 11"/>
          <p:cNvCxnSpPr/>
          <p:nvPr/>
        </p:nvCxnSpPr>
        <p:spPr bwMode="auto">
          <a:xfrm>
            <a:off x="8259336" y="3207433"/>
            <a:ext cx="215367" cy="0"/>
          </a:xfrm>
          <a:prstGeom prst="line">
            <a:avLst/>
          </a:prstGeom>
          <a:noFill/>
          <a:ln w="9525" cap="flat" cmpd="sng" algn="ctr">
            <a:solidFill>
              <a:srgbClr val="FF66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直線接點 12"/>
          <p:cNvCxnSpPr/>
          <p:nvPr/>
        </p:nvCxnSpPr>
        <p:spPr bwMode="auto">
          <a:xfrm>
            <a:off x="8285124" y="5047993"/>
            <a:ext cx="215367" cy="0"/>
          </a:xfrm>
          <a:prstGeom prst="line">
            <a:avLst/>
          </a:prstGeom>
          <a:noFill/>
          <a:ln w="9525" cap="flat" cmpd="sng" algn="ctr">
            <a:solidFill>
              <a:srgbClr val="FF66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直線接點 13"/>
          <p:cNvCxnSpPr/>
          <p:nvPr/>
        </p:nvCxnSpPr>
        <p:spPr bwMode="auto">
          <a:xfrm>
            <a:off x="1431297" y="3863963"/>
            <a:ext cx="215367" cy="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直線接點 14"/>
          <p:cNvCxnSpPr/>
          <p:nvPr/>
        </p:nvCxnSpPr>
        <p:spPr bwMode="auto">
          <a:xfrm>
            <a:off x="1449297" y="5739618"/>
            <a:ext cx="215367" cy="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橢圓 9"/>
          <p:cNvSpPr/>
          <p:nvPr/>
        </p:nvSpPr>
        <p:spPr bwMode="auto">
          <a:xfrm>
            <a:off x="204522" y="125717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lang="en-US" altLang="zh-TW" sz="2700" b="1" dirty="0"/>
              <a:t>4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5489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 bwMode="auto">
          <a:xfrm>
            <a:off x="-761" y="781050"/>
            <a:ext cx="9906000" cy="6076950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3" name="標題 1"/>
          <p:cNvSpPr txBox="1">
            <a:spLocks/>
          </p:cNvSpPr>
          <p:nvPr/>
        </p:nvSpPr>
        <p:spPr bwMode="auto">
          <a:xfrm>
            <a:off x="803082" y="209496"/>
            <a:ext cx="8364995" cy="505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+mj-cs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zh-TW" altLang="en-US" dirty="0" smtClean="0"/>
              <a:t> 模型</a:t>
            </a:r>
            <a:r>
              <a:rPr lang="zh-TW" altLang="en-US" dirty="0"/>
              <a:t>開發結果</a:t>
            </a:r>
            <a:r>
              <a:rPr lang="zh-TW" altLang="en-US" dirty="0" smtClean="0"/>
              <a:t>：覆蓋率、戶數率與 </a:t>
            </a:r>
            <a:r>
              <a:rPr lang="en-US" altLang="zh-TW" dirty="0" smtClean="0"/>
              <a:t>GINI</a:t>
            </a:r>
            <a:r>
              <a:rPr lang="zh-TW" altLang="en-US" dirty="0" smtClean="0"/>
              <a:t> </a:t>
            </a:r>
            <a:r>
              <a:rPr lang="en-US" altLang="zh-TW" dirty="0" smtClean="0"/>
              <a:t>(</a:t>
            </a:r>
            <a:r>
              <a:rPr lang="zh-TW" altLang="en-US" dirty="0" smtClean="0"/>
              <a:t>續</a:t>
            </a:r>
            <a:r>
              <a:rPr lang="en-US" altLang="zh-TW" dirty="0" smtClean="0"/>
              <a:t>)</a:t>
            </a:r>
            <a:r>
              <a:rPr lang="zh-TW" altLang="en-US" dirty="0" smtClean="0"/>
              <a:t> </a:t>
            </a:r>
            <a:endParaRPr lang="zh-TW" altLang="en-US" kern="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>
          <a:xfrm>
            <a:off x="9345488" y="6381330"/>
            <a:ext cx="488504" cy="365125"/>
          </a:xfrm>
        </p:spPr>
        <p:txBody>
          <a:bodyPr/>
          <a:lstStyle/>
          <a:p>
            <a:fld id="{73DA0BB7-265A-403C-9275-D587AB510EDC}" type="slidenum">
              <a:rPr lang="zh-TW" altLang="en-US" smtClean="0">
                <a:solidFill>
                  <a:schemeClr val="bg1"/>
                </a:solidFill>
              </a:rPr>
              <a:pPr/>
              <a:t>17</a:t>
            </a:fld>
            <a:endParaRPr lang="zh-TW" altLang="en-US" dirty="0">
              <a:solidFill>
                <a:schemeClr val="bg1"/>
              </a:solidFill>
            </a:endParaRPr>
          </a:p>
        </p:txBody>
      </p:sp>
      <p:sp>
        <p:nvSpPr>
          <p:cNvPr id="14" name="橢圓 13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lang="en-US" altLang="zh-TW" sz="2700" b="1" dirty="0" smtClean="0"/>
              <a:t>4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aphicFrame>
        <p:nvGraphicFramePr>
          <p:cNvPr id="30" name="表格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28941"/>
              </p:ext>
            </p:extLst>
          </p:nvPr>
        </p:nvGraphicFramePr>
        <p:xfrm>
          <a:off x="1644773" y="4433117"/>
          <a:ext cx="3438158" cy="19620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1982"/>
                <a:gridCol w="783283"/>
                <a:gridCol w="687631"/>
                <a:gridCol w="687631"/>
                <a:gridCol w="687631"/>
              </a:tblGrid>
              <a:tr h="267283">
                <a:tc rowSpan="2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信貸風險變動分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</a:t>
                      </a:r>
                      <a:endParaRPr lang="en-US" altLang="zh-TW" sz="1100" b="1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 fontAlgn="b"/>
                      <a:r>
                        <a:rPr 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RANG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與本行有信貸往來：</a:t>
                      </a:r>
                      <a:r>
                        <a:rPr lang="en-US" altLang="zh-TW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12</a:t>
                      </a:r>
                      <a:endParaRPr lang="zh-TW" altLang="en-US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</a:tr>
              <a:tr h="398578">
                <a:tc v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人數</a:t>
                      </a:r>
                      <a:endParaRPr lang="en-US" altLang="zh-TW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人數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 – 20</a:t>
                      </a:r>
                      <a:endParaRPr lang="en-US" altLang="zh-TW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gt; 6%</a:t>
                      </a:r>
                      <a:endParaRPr lang="en-US" altLang="zh-TW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8.0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8,084</a:t>
                      </a:r>
                      <a:endParaRPr lang="en-US" altLang="zh-TW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3,105</a:t>
                      </a:r>
                      <a:endParaRPr lang="en-US" altLang="zh-TW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 – 10</a:t>
                      </a:r>
                      <a:endParaRPr lang="en-US" altLang="zh-TW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% ~ 6%</a:t>
                      </a:r>
                      <a:endParaRPr lang="en-US" altLang="zh-TW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.7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1,713</a:t>
                      </a:r>
                      <a:endParaRPr lang="en-US" altLang="zh-TW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,835</a:t>
                      </a:r>
                      <a:endParaRPr lang="en-US" altLang="zh-TW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 - 4</a:t>
                      </a:r>
                      <a:endParaRPr lang="en-US" altLang="zh-TW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lt;1 %</a:t>
                      </a:r>
                      <a:endParaRPr lang="en-US" altLang="zh-TW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7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,378</a:t>
                      </a:r>
                      <a:endParaRPr lang="en-US" altLang="zh-TW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400" b="1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176900">
                <a:tc gridSpan="2">
                  <a:txBody>
                    <a:bodyPr/>
                    <a:lstStyle/>
                    <a:p>
                      <a:pPr algn="r" fontAlgn="b"/>
                      <a:r>
                        <a:rPr lang="en-US" altLang="zh-TW" sz="100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</a:t>
                      </a:r>
                      <a:r>
                        <a:rPr lang="zh-TW" altLang="en-US" sz="100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分↑人數</a:t>
                      </a:r>
                      <a:r>
                        <a:rPr lang="zh-TW" altLang="en-US" sz="100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/>
                        </a:rPr>
                        <a:t> </a:t>
                      </a:r>
                      <a:endParaRPr lang="en-US" sz="10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.61%</a:t>
                      </a:r>
                      <a:endParaRPr lang="zh-TW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9,797</a:t>
                      </a:r>
                      <a:endParaRPr lang="zh-TW" altLang="en-US" sz="1000" b="0" i="0" u="none" strike="noStrike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4,940</a:t>
                      </a:r>
                      <a:endParaRPr lang="zh-TW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176900">
                <a:tc gridSpan="2"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zh-TW" altLang="en-US" sz="100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總人數</a:t>
                      </a:r>
                      <a:endParaRPr lang="en-US" sz="10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zh-TW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.39%</a:t>
                      </a:r>
                      <a:endParaRPr lang="zh-TW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62,175</a:t>
                      </a:r>
                      <a:endParaRPr lang="zh-TW" altLang="en-US" sz="1000" b="0" i="0" u="none" strike="noStrike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4,957</a:t>
                      </a:r>
                      <a:endParaRPr lang="zh-TW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176900">
                <a:tc gridSpan="2"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altLang="zh-TW" sz="100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</a:t>
                      </a:r>
                      <a:r>
                        <a:rPr lang="zh-TW" altLang="en-US" sz="100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分↑覆蓋率</a:t>
                      </a:r>
                      <a:endParaRPr lang="en-US" sz="10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000" b="0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-</a:t>
                      </a:r>
                      <a:endParaRPr lang="zh-TW" altLang="en-US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8.5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0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9.93%</a:t>
                      </a:r>
                      <a:endParaRPr lang="en-US" altLang="zh-TW" sz="100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8" name="表格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2452002"/>
              </p:ext>
            </p:extLst>
          </p:nvPr>
        </p:nvGraphicFramePr>
        <p:xfrm>
          <a:off x="5900735" y="887076"/>
          <a:ext cx="3438158" cy="58680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1982"/>
                <a:gridCol w="783283"/>
                <a:gridCol w="687631"/>
                <a:gridCol w="687631"/>
                <a:gridCol w="687631"/>
              </a:tblGrid>
              <a:tr h="267283">
                <a:tc rowSpan="2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信貸風險變動分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</a:t>
                      </a:r>
                      <a:endParaRPr lang="en-US" altLang="zh-TW" sz="1100" b="1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 fontAlgn="b"/>
                      <a:r>
                        <a:rPr 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RANG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與本行有信貸往來：</a:t>
                      </a:r>
                      <a:r>
                        <a:rPr lang="en-US" altLang="zh-TW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12</a:t>
                      </a:r>
                      <a:endParaRPr lang="zh-TW" altLang="en-US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</a:tr>
              <a:tr h="398578">
                <a:tc vMerge="1">
                  <a:txBody>
                    <a:bodyPr/>
                    <a:lstStyle/>
                    <a:p>
                      <a:pPr algn="ctr" fontAlgn="b"/>
                      <a:endParaRPr lang="zh-TW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率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人數</a:t>
                      </a:r>
                      <a:endParaRPr lang="en-US" altLang="zh-TW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TW" alt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人數</a:t>
                      </a:r>
                      <a:endParaRPr lang="zh-TW" alt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1A0A9"/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gt;30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7.53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,718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,398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5%~30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7.87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,652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969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%~25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3.14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,924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759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7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%~20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.71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,684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894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%~18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.94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,996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879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%~16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.95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,536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%~14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.60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,155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789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%~12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.88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9,113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270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%~10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.62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,574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594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%~8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.56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,732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%~7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.24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,041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%~6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.18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,198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%~5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.04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,859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%~4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.41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627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%~3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.86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,012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%~2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64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76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5%~1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r>
                        <a:rPr lang="zh-TW" altLang="en-US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2%~0.5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77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,958</a:t>
                      </a:r>
                      <a:endParaRPr lang="en-US" altLang="zh-TW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5176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1%~0.2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.48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20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17690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lt;0.1%</a:t>
                      </a: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r>
                        <a:rPr lang="zh-TW" altLang="en-US" sz="105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TW" sz="105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05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690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微軟正黑體"/>
                        </a:rPr>
                        <a:t>Total</a:t>
                      </a:r>
                      <a:endParaRPr lang="en-US" sz="10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微軟正黑體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zh-TW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.39%</a:t>
                      </a:r>
                      <a:endParaRPr lang="zh-TW" altLang="en-US" sz="105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05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4,957</a:t>
                      </a:r>
                      <a:endParaRPr lang="zh-TW" altLang="en-US" sz="1050" b="1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050" b="1" i="0" u="none" strike="noStrike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62,175</a:t>
                      </a:r>
                      <a:endParaRPr lang="zh-TW" altLang="en-US" sz="1050" b="1" i="0" u="none" strike="noStrike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4698" marR="4698" marT="469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7" name="右大括弧 36"/>
          <p:cNvSpPr/>
          <p:nvPr/>
        </p:nvSpPr>
        <p:spPr bwMode="auto">
          <a:xfrm flipH="1">
            <a:off x="5255287" y="904328"/>
            <a:ext cx="577456" cy="5832000"/>
          </a:xfrm>
          <a:prstGeom prst="rightBrace">
            <a:avLst>
              <a:gd name="adj1" fmla="val 69406"/>
              <a:gd name="adj2" fmla="val 68933"/>
            </a:avLst>
          </a:prstGeom>
          <a:noFill/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890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281354" y="1301095"/>
            <a:ext cx="514756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 fontAlgn="auto">
              <a:lnSpc>
                <a:spcPct val="150000"/>
              </a:lnSpc>
              <a:buFont typeface="+mj-lt"/>
              <a:buAutoNum type="arabicPeriod"/>
            </a:pP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該子卡不符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鑑別力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 GINI </a:t>
            </a:r>
            <a:r>
              <a:rPr lang="en-US" altLang="zh-TW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≥ 40%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之模型管理辦法效度驗證標準</a:t>
            </a:r>
            <a:endParaRPr lang="en-US" altLang="zh-TW" sz="12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 fontAlgn="auto">
              <a:lnSpc>
                <a:spcPct val="150000"/>
              </a:lnSpc>
              <a:buFont typeface="+mj-lt"/>
              <a:buAutoNum type="arabicPeriod"/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該子卡於 </a:t>
            </a:r>
            <a:r>
              <a:rPr lang="en-US" altLang="zh-TW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分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以上的需求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覆蓋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率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99.93%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僅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7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位有需求客戶未覆蓋</a:t>
            </a: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 fontAlgn="auto">
              <a:lnSpc>
                <a:spcPct val="150000"/>
              </a:lnSpc>
              <a:buFont typeface="+mj-lt"/>
              <a:buAutoNum type="arabicPeriod"/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該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子卡分數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至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的需求率具有排序力</a:t>
            </a:r>
            <a:endParaRPr lang="en-US" altLang="zh-TW" sz="12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綜合上述考量，該子卡仍符合業務使用情境，僅不適用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鑑別力 </a:t>
            </a:r>
            <a:r>
              <a:rPr lang="en-US" altLang="zh-TW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 GINI ) ≥ 40%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之效度驗證標準，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故建議 </a:t>
            </a:r>
            <a:r>
              <a:rPr lang="en-US" altLang="zh-TW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分以上需求覆蓋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率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&gt;</a:t>
            </a:r>
            <a:r>
              <a:rPr lang="en-US" altLang="zh-TW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90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，作為後續評估此子卡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模型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之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效度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驗證與未來監控標準。</a:t>
            </a: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aphicFrame>
        <p:nvGraphicFramePr>
          <p:cNvPr id="41" name="表格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2859740"/>
              </p:ext>
            </p:extLst>
          </p:nvPr>
        </p:nvGraphicFramePr>
        <p:xfrm>
          <a:off x="626538" y="3229435"/>
          <a:ext cx="2602149" cy="892934"/>
        </p:xfrm>
        <a:graphic>
          <a:graphicData uri="http://schemas.openxmlformats.org/drawingml/2006/table">
            <a:tbl>
              <a:tblPr/>
              <a:tblGrid>
                <a:gridCol w="867383"/>
                <a:gridCol w="867383"/>
                <a:gridCol w="867383"/>
              </a:tblGrid>
              <a:tr h="297645">
                <a:tc gridSpan="3">
                  <a:txBody>
                    <a:bodyPr/>
                    <a:lstStyle/>
                    <a:p>
                      <a:pPr algn="ctr"/>
                      <a:r>
                        <a:rPr lang="zh-TW" altLang="en-US" sz="16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測試樣本 </a:t>
                      </a:r>
                      <a:r>
                        <a:rPr lang="en-US" altLang="zh-TW" sz="1600" b="1" baseline="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 1912</a:t>
                      </a:r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/>
                </a:tc>
              </a:tr>
              <a:tr h="29764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100" b="1" kern="120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5</a:t>
                      </a:r>
                      <a:r>
                        <a:rPr lang="zh-TW" altLang="en-US" sz="1100" b="1" kern="120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分↑</a:t>
                      </a:r>
                      <a:endParaRPr lang="en-US" altLang="zh-TW" sz="1100" b="1" kern="1200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100" b="1" kern="120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客戶數</a:t>
                      </a:r>
                      <a:endParaRPr lang="en-US" altLang="zh-TW" sz="1100" b="1" kern="1200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1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1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分↑</a:t>
                      </a:r>
                      <a:endParaRPr lang="en-US" altLang="zh-TW" sz="11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1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求覆蓋率</a:t>
                      </a:r>
                      <a:endParaRPr lang="en-US" altLang="zh-TW" sz="11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GINI</a:t>
                      </a:r>
                      <a:endParaRPr lang="en-US" alt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260009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.9</a:t>
                      </a:r>
                      <a:r>
                        <a:rPr lang="zh-TW" altLang="en-US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萬</a:t>
                      </a:r>
                      <a:endParaRPr lang="en-US" altLang="zh-TW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99.93%</a:t>
                      </a:r>
                      <a:endParaRPr lang="en-US" altLang="zh-TW" sz="1200" b="1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TW" sz="1200" b="1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7.56%</a:t>
                      </a:r>
                      <a:endParaRPr lang="en-US" altLang="zh-TW" sz="1200" b="1" i="0" u="none" strike="noStrike" kern="1200" dirty="0">
                        <a:solidFill>
                          <a:srgbClr val="C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4" name="橢圓 43"/>
          <p:cNvSpPr/>
          <p:nvPr/>
        </p:nvSpPr>
        <p:spPr bwMode="auto">
          <a:xfrm>
            <a:off x="2444682" y="3891258"/>
            <a:ext cx="180000" cy="18000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kumimoji="0" lang="zh-TW" altLang="en-US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！</a:t>
            </a:r>
          </a:p>
        </p:txBody>
      </p:sp>
      <p:sp>
        <p:nvSpPr>
          <p:cNvPr id="46" name="矩形 45"/>
          <p:cNvSpPr/>
          <p:nvPr/>
        </p:nvSpPr>
        <p:spPr>
          <a:xfrm>
            <a:off x="190131" y="914376"/>
            <a:ext cx="3954929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TW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【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風險變動分</a:t>
            </a:r>
            <a:r>
              <a:rPr lang="zh-TW" altLang="en-US" b="1" dirty="0" smtClean="0">
                <a:solidFill>
                  <a:schemeClr val="bg1"/>
                </a:solidFill>
                <a:latin typeface="微軟正黑體"/>
                <a:ea typeface="微軟正黑體"/>
              </a:rPr>
              <a:t>「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與本行有信貸往來</a:t>
            </a:r>
            <a:r>
              <a:rPr lang="zh-TW" altLang="en-US" b="1" dirty="0" smtClean="0">
                <a:solidFill>
                  <a:schemeClr val="bg1"/>
                </a:solidFill>
                <a:latin typeface="微軟正黑體"/>
                <a:ea typeface="微軟正黑體"/>
              </a:rPr>
              <a:t>」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子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卡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】</a:t>
            </a:r>
            <a:endParaRPr lang="en-US" altLang="zh-TW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7" name="右彎箭號 46"/>
          <p:cNvSpPr/>
          <p:nvPr/>
        </p:nvSpPr>
        <p:spPr bwMode="auto">
          <a:xfrm rot="10800000" flipH="1">
            <a:off x="811496" y="4269425"/>
            <a:ext cx="715853" cy="1530431"/>
          </a:xfrm>
          <a:prstGeom prst="bentArrow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矩形 1">
            <a:hlinkClick r:id="rId2" action="ppaction://hlinksldjump"/>
          </p:cNvPr>
          <p:cNvSpPr/>
          <p:nvPr/>
        </p:nvSpPr>
        <p:spPr bwMode="auto">
          <a:xfrm>
            <a:off x="9008828" y="254443"/>
            <a:ext cx="707666" cy="3737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kumimoji="0" lang="zh-TW" altLang="en-US" sz="14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回上頁</a:t>
            </a:r>
            <a:endParaRPr kumimoji="0" lang="zh-TW" altLang="en-US" sz="14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120805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 bwMode="auto">
          <a:xfrm>
            <a:off x="4876800" y="791349"/>
            <a:ext cx="4785774" cy="504000"/>
          </a:xfrm>
          <a:prstGeom prst="rect">
            <a:avLst/>
          </a:prstGeom>
          <a:solidFill>
            <a:srgbClr val="2D97A5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sz="20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迭代結果</a:t>
            </a:r>
          </a:p>
        </p:txBody>
      </p:sp>
      <p:sp>
        <p:nvSpPr>
          <p:cNvPr id="25" name="五邊形 24"/>
          <p:cNvSpPr/>
          <p:nvPr/>
        </p:nvSpPr>
        <p:spPr bwMode="auto">
          <a:xfrm>
            <a:off x="2501900" y="791349"/>
            <a:ext cx="2651125" cy="504000"/>
          </a:xfrm>
          <a:prstGeom prst="homePlate">
            <a:avLst/>
          </a:prstGeom>
          <a:solidFill>
            <a:srgbClr val="2D97A5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sz="20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迭代目標</a:t>
            </a:r>
          </a:p>
        </p:txBody>
      </p:sp>
      <p:sp>
        <p:nvSpPr>
          <p:cNvPr id="24" name="五邊形 23"/>
          <p:cNvSpPr/>
          <p:nvPr/>
        </p:nvSpPr>
        <p:spPr bwMode="auto">
          <a:xfrm>
            <a:off x="225425" y="791349"/>
            <a:ext cx="2651125" cy="504000"/>
          </a:xfrm>
          <a:prstGeom prst="homePlate">
            <a:avLst/>
          </a:prstGeom>
          <a:solidFill>
            <a:srgbClr val="2D97A5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sz="20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現況</a:t>
            </a:r>
          </a:p>
        </p:txBody>
      </p:sp>
      <p:sp>
        <p:nvSpPr>
          <p:cNvPr id="21" name="矩形 20"/>
          <p:cNvSpPr/>
          <p:nvPr/>
        </p:nvSpPr>
        <p:spPr bwMode="auto">
          <a:xfrm>
            <a:off x="225425" y="1336891"/>
            <a:ext cx="2365374" cy="49768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03082" y="209496"/>
            <a:ext cx="8364995" cy="505227"/>
          </a:xfrm>
        </p:spPr>
        <p:txBody>
          <a:bodyPr/>
          <a:lstStyle/>
          <a:p>
            <a:r>
              <a:rPr lang="zh-TW" altLang="en-US" dirty="0" smtClean="0"/>
              <a:t>專案執行摘要</a:t>
            </a:r>
            <a:endParaRPr lang="zh-TW" altLang="en-US" dirty="0"/>
          </a:p>
        </p:txBody>
      </p:sp>
      <p:sp>
        <p:nvSpPr>
          <p:cNvPr id="6" name="文字方塊 5"/>
          <p:cNvSpPr txBox="1"/>
          <p:nvPr/>
        </p:nvSpPr>
        <p:spPr>
          <a:xfrm>
            <a:off x="225423" y="1371084"/>
            <a:ext cx="2340000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 algn="l">
              <a:buFont typeface="Arial" panose="020B0604020202020204" pitchFamily="34" charset="0"/>
              <a:buChar char="•"/>
            </a:pP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以行內外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據建立風險變動分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含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JCIC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據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  <a:p>
            <a:pPr marL="174625" indent="-174625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因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包含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JCIC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據，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BU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單位不可直接用於行銷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影響策略細緻度</a:t>
            </a:r>
            <a:endParaRPr lang="en-US" altLang="zh-TW" sz="1600" b="1" dirty="0" smtClean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174625" indent="-174625" algn="l">
              <a:buFont typeface="Arial" panose="020B0604020202020204" pitchFamily="34" charset="0"/>
              <a:buChar char="•"/>
            </a:pPr>
            <a:endParaRPr lang="en-US" altLang="zh-TW" sz="1600" b="1" dirty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3" name="矩形 12"/>
          <p:cNvSpPr/>
          <p:nvPr/>
        </p:nvSpPr>
        <p:spPr bwMode="auto">
          <a:xfrm>
            <a:off x="696869" y="3318054"/>
            <a:ext cx="612000" cy="2256551"/>
          </a:xfrm>
          <a:prstGeom prst="rect">
            <a:avLst/>
          </a:prstGeom>
          <a:gradFill>
            <a:gsLst>
              <a:gs pos="17000">
                <a:srgbClr val="009999"/>
              </a:gs>
              <a:gs pos="50000">
                <a:schemeClr val="accent2">
                  <a:lumMod val="75000"/>
                </a:schemeClr>
              </a:gs>
              <a:gs pos="93000">
                <a:schemeClr val="bg1"/>
              </a:gs>
            </a:gsLst>
            <a:lin ang="5400000" scaled="0"/>
          </a:gra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>
              <a:lnSpc>
                <a:spcPct val="150000"/>
              </a:lnSpc>
            </a:pP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</a:t>
            </a: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~</a:t>
            </a: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r>
              <a:rPr lang="en-US" altLang="zh-TW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endParaRPr kumimoji="0" lang="en-US" altLang="zh-TW" sz="1200" b="1" i="0" u="none" strike="noStrike" cap="none" normalizeH="0" baseline="0" dirty="0" smtClean="0">
              <a:solidFill>
                <a:schemeClr val="bg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r>
              <a:rPr kumimoji="0" lang="zh-TW" altLang="en-US" sz="12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分</a:t>
            </a:r>
            <a:endParaRPr kumimoji="0" lang="en-US" altLang="zh-TW" sz="1200" b="1" i="0" u="none" strike="noStrike" cap="none" normalizeH="0" baseline="0" dirty="0" smtClean="0">
              <a:solidFill>
                <a:schemeClr val="bg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endParaRPr kumimoji="0" lang="en-US" altLang="zh-TW" sz="1200" b="1" i="0" u="none" strike="noStrike" cap="none" normalizeH="0" baseline="0" dirty="0" smtClean="0">
              <a:solidFill>
                <a:schemeClr val="bg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rtl="0" eaLnBrk="1" fontAlgn="base" latinLnBrk="0" hangingPunct="1">
              <a:lnSpc>
                <a:spcPct val="150000"/>
              </a:lnSpc>
            </a:pP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" name="矩形 13"/>
          <p:cNvSpPr/>
          <p:nvPr/>
        </p:nvSpPr>
        <p:spPr bwMode="auto">
          <a:xfrm>
            <a:off x="1509720" y="4818743"/>
            <a:ext cx="612000" cy="75586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低分</a:t>
            </a:r>
          </a:p>
        </p:txBody>
      </p:sp>
      <p:cxnSp>
        <p:nvCxnSpPr>
          <p:cNvPr id="16" name="直線接點 15"/>
          <p:cNvCxnSpPr/>
          <p:nvPr/>
        </p:nvCxnSpPr>
        <p:spPr bwMode="auto">
          <a:xfrm flipV="1">
            <a:off x="585802" y="5660329"/>
            <a:ext cx="1619250" cy="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文字方塊 16"/>
          <p:cNvSpPr txBox="1"/>
          <p:nvPr/>
        </p:nvSpPr>
        <p:spPr>
          <a:xfrm>
            <a:off x="728677" y="5736530"/>
            <a:ext cx="5619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個金</a:t>
            </a:r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風險</a:t>
            </a:r>
            <a:endParaRPr lang="en-US" altLang="zh-TW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" name="文字方塊 17"/>
          <p:cNvSpPr txBox="1"/>
          <p:nvPr/>
        </p:nvSpPr>
        <p:spPr>
          <a:xfrm>
            <a:off x="1559210" y="5736530"/>
            <a:ext cx="5619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個</a:t>
            </a:r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金</a:t>
            </a:r>
            <a:r>
              <a:rPr lang="en-US" altLang="zh-TW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BU</a:t>
            </a:r>
          </a:p>
        </p:txBody>
      </p:sp>
      <p:sp>
        <p:nvSpPr>
          <p:cNvPr id="26" name="矩形 25"/>
          <p:cNvSpPr/>
          <p:nvPr/>
        </p:nvSpPr>
        <p:spPr bwMode="auto">
          <a:xfrm>
            <a:off x="2679700" y="1324377"/>
            <a:ext cx="2197100" cy="1620000"/>
          </a:xfrm>
          <a:prstGeom prst="rect">
            <a:avLst/>
          </a:prstGeom>
          <a:solidFill>
            <a:schemeClr val="bg1">
              <a:lumMod val="95000"/>
              <a:alpha val="23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600" b="1" i="0" u="none" strike="noStrike" cap="none" normalizeH="0" baseline="0" dirty="0" smtClean="0">
              <a:solidFill>
                <a:schemeClr val="tx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矩形 26"/>
          <p:cNvSpPr/>
          <p:nvPr/>
        </p:nvSpPr>
        <p:spPr bwMode="auto">
          <a:xfrm>
            <a:off x="2679700" y="3009081"/>
            <a:ext cx="2197100" cy="1620000"/>
          </a:xfrm>
          <a:prstGeom prst="rect">
            <a:avLst/>
          </a:prstGeom>
          <a:solidFill>
            <a:schemeClr val="bg1">
              <a:lumMod val="95000"/>
              <a:alpha val="23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600" b="1" i="0" u="none" strike="noStrike" cap="none" normalizeH="0" baseline="0" dirty="0" smtClean="0">
              <a:solidFill>
                <a:schemeClr val="tx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" name="矩形 27"/>
          <p:cNvSpPr/>
          <p:nvPr/>
        </p:nvSpPr>
        <p:spPr bwMode="auto">
          <a:xfrm>
            <a:off x="2679700" y="4693785"/>
            <a:ext cx="2197100" cy="1620000"/>
          </a:xfrm>
          <a:prstGeom prst="rect">
            <a:avLst/>
          </a:prstGeom>
          <a:solidFill>
            <a:schemeClr val="bg1">
              <a:lumMod val="95000"/>
              <a:alpha val="23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600" b="1" i="0" u="none" strike="noStrike" cap="none" normalizeH="0" baseline="0" dirty="0" smtClean="0">
              <a:solidFill>
                <a:schemeClr val="tx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0" name="直角三角形 29"/>
          <p:cNvSpPr/>
          <p:nvPr/>
        </p:nvSpPr>
        <p:spPr bwMode="auto">
          <a:xfrm flipV="1">
            <a:off x="2679700" y="1324376"/>
            <a:ext cx="618978" cy="568440"/>
          </a:xfrm>
          <a:prstGeom prst="rtTriangle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1" name="文字方塊 30"/>
          <p:cNvSpPr txBox="1"/>
          <p:nvPr/>
        </p:nvSpPr>
        <p:spPr>
          <a:xfrm>
            <a:off x="2725811" y="1335524"/>
            <a:ext cx="189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800" b="1" dirty="0" smtClean="0">
                <a:solidFill>
                  <a:schemeClr val="bg1"/>
                </a:solidFill>
                <a:latin typeface="+mn-lt"/>
              </a:rPr>
              <a:t>1</a:t>
            </a:r>
            <a:endParaRPr lang="zh-TW" altLang="en-US" sz="1800" b="1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直角三角形 31"/>
          <p:cNvSpPr/>
          <p:nvPr/>
        </p:nvSpPr>
        <p:spPr bwMode="auto">
          <a:xfrm flipV="1">
            <a:off x="2679700" y="3009081"/>
            <a:ext cx="618978" cy="568440"/>
          </a:xfrm>
          <a:prstGeom prst="rtTriangle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3" name="文字方塊 32"/>
          <p:cNvSpPr txBox="1"/>
          <p:nvPr/>
        </p:nvSpPr>
        <p:spPr>
          <a:xfrm>
            <a:off x="2725811" y="3017689"/>
            <a:ext cx="189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800" b="1" dirty="0">
                <a:solidFill>
                  <a:schemeClr val="bg1"/>
                </a:solidFill>
              </a:rPr>
              <a:t>2</a:t>
            </a:r>
            <a:endParaRPr lang="zh-TW" altLang="en-US" sz="1800" b="1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4" name="直角三角形 33"/>
          <p:cNvSpPr/>
          <p:nvPr/>
        </p:nvSpPr>
        <p:spPr bwMode="auto">
          <a:xfrm flipV="1">
            <a:off x="2679700" y="4693785"/>
            <a:ext cx="618978" cy="568440"/>
          </a:xfrm>
          <a:prstGeom prst="rtTriangle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5" name="文字方塊 34"/>
          <p:cNvSpPr txBox="1"/>
          <p:nvPr/>
        </p:nvSpPr>
        <p:spPr>
          <a:xfrm>
            <a:off x="2725811" y="4714274"/>
            <a:ext cx="189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800" b="1" dirty="0" smtClean="0">
                <a:solidFill>
                  <a:schemeClr val="bg1"/>
                </a:solidFill>
              </a:rPr>
              <a:t>3</a:t>
            </a:r>
            <a:endParaRPr lang="zh-TW" altLang="en-US" sz="1800" b="1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2989190" y="1344409"/>
            <a:ext cx="18741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889000"/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同步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滿足風險、</a:t>
            </a:r>
            <a:r>
              <a:rPr lang="en-US" altLang="zh-TW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BU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細緻業務需求</a:t>
            </a:r>
            <a:endParaRPr lang="zh-TW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3002620" y="3020447"/>
            <a:ext cx="18741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889000"/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廣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納新數據，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深化客戶的意圖捕捉</a:t>
            </a:r>
            <a:endParaRPr lang="en-US" altLang="zh-TW" sz="1600" b="1" dirty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3002620" y="4714274"/>
            <a:ext cx="18741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889000"/>
            <a:r>
              <a:rPr lang="zh-TW" altLang="en-US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</a:t>
            </a:r>
            <a:endParaRPr lang="zh-TW" altLang="en-US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3002620" y="4707134"/>
            <a:ext cx="18741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889000"/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擴大高分名單數與高分需求覆蓋率</a:t>
            </a:r>
            <a:endParaRPr lang="zh-TW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9" name="橢圓 28"/>
          <p:cNvSpPr/>
          <p:nvPr/>
        </p:nvSpPr>
        <p:spPr>
          <a:xfrm>
            <a:off x="2721850" y="2026643"/>
            <a:ext cx="540000" cy="540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fontAlgn="auto"/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變動分</a:t>
            </a:r>
          </a:p>
        </p:txBody>
      </p:sp>
      <p:sp>
        <p:nvSpPr>
          <p:cNvPr id="4" name="文字方塊 3"/>
          <p:cNvSpPr txBox="1"/>
          <p:nvPr/>
        </p:nvSpPr>
        <p:spPr>
          <a:xfrm>
            <a:off x="2605152" y="2575269"/>
            <a:ext cx="7733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 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含 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JCIC )</a:t>
            </a:r>
            <a:endParaRPr lang="zh-TW" altLang="en-US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2" name="文字方塊 41"/>
          <p:cNvSpPr txBox="1"/>
          <p:nvPr/>
        </p:nvSpPr>
        <p:spPr>
          <a:xfrm>
            <a:off x="3216650" y="2096588"/>
            <a:ext cx="3400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+</a:t>
            </a:r>
            <a:endParaRPr lang="zh-TW" altLang="en-US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3" name="橢圓 42"/>
          <p:cNvSpPr/>
          <p:nvPr/>
        </p:nvSpPr>
        <p:spPr>
          <a:xfrm>
            <a:off x="3514882" y="2026643"/>
            <a:ext cx="540000" cy="54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fontAlgn="auto"/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位</a:t>
            </a:r>
            <a:endParaRPr lang="en-US" altLang="zh-TW" sz="12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fontAlgn="auto"/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軌跡</a:t>
            </a:r>
            <a:endParaRPr lang="en-US" altLang="zh-TW" sz="12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4" name="文字方塊 43"/>
          <p:cNvSpPr txBox="1"/>
          <p:nvPr/>
        </p:nvSpPr>
        <p:spPr>
          <a:xfrm>
            <a:off x="4016227" y="2095043"/>
            <a:ext cx="3400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=</a:t>
            </a:r>
            <a:endParaRPr lang="zh-TW" altLang="en-US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4231541" y="2558015"/>
            <a:ext cx="697627" cy="4001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可供業務</a:t>
            </a:r>
            <a:endParaRPr lang="en-US" altLang="zh-TW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行銷使用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1" name="橢圓 40"/>
          <p:cNvSpPr/>
          <p:nvPr/>
        </p:nvSpPr>
        <p:spPr>
          <a:xfrm>
            <a:off x="4298529" y="2026643"/>
            <a:ext cx="540000" cy="540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fontAlgn="auto"/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分</a:t>
            </a:r>
            <a:endParaRPr lang="zh-TW" altLang="en-US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47" name="群組 46"/>
          <p:cNvGrpSpPr/>
          <p:nvPr/>
        </p:nvGrpSpPr>
        <p:grpSpPr>
          <a:xfrm>
            <a:off x="2769541" y="3556095"/>
            <a:ext cx="540000" cy="540000"/>
            <a:chOff x="1010700" y="4085131"/>
            <a:chExt cx="720000" cy="720000"/>
          </a:xfrm>
        </p:grpSpPr>
        <p:sp>
          <p:nvSpPr>
            <p:cNvPr id="48" name="橢圓 47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49" name="橢圓 48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DM</a:t>
              </a: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文字</a:t>
              </a:r>
            </a:p>
          </p:txBody>
        </p:sp>
      </p:grpSp>
      <p:grpSp>
        <p:nvGrpSpPr>
          <p:cNvPr id="53" name="群組 52"/>
          <p:cNvGrpSpPr/>
          <p:nvPr/>
        </p:nvGrpSpPr>
        <p:grpSpPr>
          <a:xfrm>
            <a:off x="3508250" y="3569595"/>
            <a:ext cx="540000" cy="540000"/>
            <a:chOff x="1010700" y="4085131"/>
            <a:chExt cx="720000" cy="720000"/>
          </a:xfrm>
        </p:grpSpPr>
        <p:sp>
          <p:nvSpPr>
            <p:cNvPr id="54" name="橢圓 53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55" name="橢圓 54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保險</a:t>
              </a:r>
              <a:endParaRPr lang="en-US" altLang="zh-TW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變數</a:t>
              </a:r>
              <a:endParaRPr lang="en-US" altLang="zh-TW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56" name="群組 55"/>
          <p:cNvGrpSpPr/>
          <p:nvPr/>
        </p:nvGrpSpPr>
        <p:grpSpPr>
          <a:xfrm>
            <a:off x="3129276" y="4064031"/>
            <a:ext cx="540000" cy="540000"/>
            <a:chOff x="1010700" y="4085131"/>
            <a:chExt cx="720000" cy="720000"/>
          </a:xfrm>
        </p:grpSpPr>
        <p:sp>
          <p:nvSpPr>
            <p:cNvPr id="57" name="橢圓 56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58" name="橢圓 57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數位</a:t>
              </a:r>
              <a:endParaRPr lang="en-US" altLang="zh-TW" sz="12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軌跡</a:t>
              </a:r>
            </a:p>
          </p:txBody>
        </p:sp>
      </p:grpSp>
      <p:grpSp>
        <p:nvGrpSpPr>
          <p:cNvPr id="59" name="群組 58"/>
          <p:cNvGrpSpPr/>
          <p:nvPr/>
        </p:nvGrpSpPr>
        <p:grpSpPr>
          <a:xfrm>
            <a:off x="4268080" y="3555557"/>
            <a:ext cx="540000" cy="540000"/>
            <a:chOff x="1010700" y="4085131"/>
            <a:chExt cx="720000" cy="720000"/>
          </a:xfrm>
        </p:grpSpPr>
        <p:sp>
          <p:nvSpPr>
            <p:cNvPr id="60" name="橢圓 59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1" name="橢圓 60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LINE</a:t>
              </a: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BC</a:t>
              </a:r>
            </a:p>
          </p:txBody>
        </p:sp>
      </p:grpSp>
      <p:grpSp>
        <p:nvGrpSpPr>
          <p:cNvPr id="62" name="群組 61"/>
          <p:cNvGrpSpPr/>
          <p:nvPr/>
        </p:nvGrpSpPr>
        <p:grpSpPr>
          <a:xfrm>
            <a:off x="3897732" y="4055593"/>
            <a:ext cx="540000" cy="540000"/>
            <a:chOff x="1010700" y="4085131"/>
            <a:chExt cx="720000" cy="720000"/>
          </a:xfrm>
        </p:grpSpPr>
        <p:sp>
          <p:nvSpPr>
            <p:cNvPr id="63" name="橢圓 62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4" name="橢圓 63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外匯</a:t>
              </a:r>
              <a:endParaRPr lang="en-US" altLang="zh-TW" sz="12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變數</a:t>
              </a:r>
              <a:endParaRPr lang="en-US" altLang="zh-TW" sz="12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sp>
        <p:nvSpPr>
          <p:cNvPr id="65" name="矩形 64"/>
          <p:cNvSpPr/>
          <p:nvPr/>
        </p:nvSpPr>
        <p:spPr bwMode="auto">
          <a:xfrm>
            <a:off x="3070932" y="7157360"/>
            <a:ext cx="796970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6" name="矩形 65"/>
          <p:cNvSpPr/>
          <p:nvPr/>
        </p:nvSpPr>
        <p:spPr bwMode="auto">
          <a:xfrm>
            <a:off x="3129452" y="5660330"/>
            <a:ext cx="198129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7" name="矩形 66"/>
          <p:cNvSpPr/>
          <p:nvPr/>
        </p:nvSpPr>
        <p:spPr bwMode="auto">
          <a:xfrm>
            <a:off x="3129453" y="5398577"/>
            <a:ext cx="132398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68" name="直線接點 67"/>
          <p:cNvCxnSpPr/>
          <p:nvPr/>
        </p:nvCxnSpPr>
        <p:spPr bwMode="auto">
          <a:xfrm>
            <a:off x="3129452" y="5303758"/>
            <a:ext cx="0" cy="900000"/>
          </a:xfrm>
          <a:prstGeom prst="line">
            <a:avLst/>
          </a:prstGeom>
          <a:noFill/>
          <a:ln w="254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69" name="矩形 68"/>
          <p:cNvSpPr/>
          <p:nvPr/>
        </p:nvSpPr>
        <p:spPr bwMode="auto">
          <a:xfrm>
            <a:off x="3122240" y="5909409"/>
            <a:ext cx="71453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0" name="矩形 69"/>
          <p:cNvSpPr/>
          <p:nvPr/>
        </p:nvSpPr>
        <p:spPr bwMode="auto">
          <a:xfrm>
            <a:off x="4132699" y="5660330"/>
            <a:ext cx="378183" cy="180000"/>
          </a:xfrm>
          <a:prstGeom prst="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1" name="矩形 70"/>
          <p:cNvSpPr/>
          <p:nvPr/>
        </p:nvSpPr>
        <p:spPr bwMode="auto">
          <a:xfrm>
            <a:off x="4132700" y="5398577"/>
            <a:ext cx="311370" cy="180000"/>
          </a:xfrm>
          <a:prstGeom prst="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72" name="直線接點 71"/>
          <p:cNvCxnSpPr/>
          <p:nvPr/>
        </p:nvCxnSpPr>
        <p:spPr bwMode="auto">
          <a:xfrm>
            <a:off x="4132699" y="5303758"/>
            <a:ext cx="0" cy="900000"/>
          </a:xfrm>
          <a:prstGeom prst="line">
            <a:avLst/>
          </a:prstGeom>
          <a:noFill/>
          <a:ln w="25400" cap="flat" cmpd="sng" algn="ctr">
            <a:solidFill>
              <a:srgbClr val="2D97A5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73" name="矩形 72"/>
          <p:cNvSpPr/>
          <p:nvPr/>
        </p:nvSpPr>
        <p:spPr bwMode="auto">
          <a:xfrm>
            <a:off x="4125487" y="5909409"/>
            <a:ext cx="485743" cy="180000"/>
          </a:xfrm>
          <a:prstGeom prst="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2" name="向右箭號 11"/>
          <p:cNvSpPr/>
          <p:nvPr/>
        </p:nvSpPr>
        <p:spPr bwMode="auto">
          <a:xfrm>
            <a:off x="3742426" y="5660329"/>
            <a:ext cx="241956" cy="180001"/>
          </a:xfrm>
          <a:prstGeom prst="rightArrow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" name="文字方塊 14"/>
          <p:cNvSpPr txBox="1"/>
          <p:nvPr/>
        </p:nvSpPr>
        <p:spPr>
          <a:xfrm>
            <a:off x="2605153" y="5365466"/>
            <a:ext cx="537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高分</a:t>
            </a:r>
          </a:p>
        </p:txBody>
      </p:sp>
      <p:sp>
        <p:nvSpPr>
          <p:cNvPr id="74" name="文字方塊 73"/>
          <p:cNvSpPr txBox="1"/>
          <p:nvPr/>
        </p:nvSpPr>
        <p:spPr>
          <a:xfrm>
            <a:off x="2605471" y="5627218"/>
            <a:ext cx="537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中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</a:t>
            </a:r>
          </a:p>
        </p:txBody>
      </p:sp>
      <p:sp>
        <p:nvSpPr>
          <p:cNvPr id="75" name="文字方塊 74"/>
          <p:cNvSpPr txBox="1"/>
          <p:nvPr/>
        </p:nvSpPr>
        <p:spPr>
          <a:xfrm>
            <a:off x="2601253" y="5875029"/>
            <a:ext cx="537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低分</a:t>
            </a:r>
          </a:p>
        </p:txBody>
      </p:sp>
      <p:sp>
        <p:nvSpPr>
          <p:cNvPr id="19" name="矩形 18"/>
          <p:cNvSpPr/>
          <p:nvPr/>
        </p:nvSpPr>
        <p:spPr>
          <a:xfrm>
            <a:off x="4354156" y="5320058"/>
            <a:ext cx="3642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b="1" dirty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  <a:endParaRPr lang="zh-TW" altLang="en-US" dirty="0"/>
          </a:p>
        </p:txBody>
      </p:sp>
      <p:sp>
        <p:nvSpPr>
          <p:cNvPr id="76" name="矩形 75"/>
          <p:cNvSpPr/>
          <p:nvPr/>
        </p:nvSpPr>
        <p:spPr>
          <a:xfrm>
            <a:off x="4439878" y="5583697"/>
            <a:ext cx="3642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b="1" dirty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  <a:endParaRPr lang="zh-TW" altLang="en-US" dirty="0"/>
          </a:p>
        </p:txBody>
      </p:sp>
      <p:sp>
        <p:nvSpPr>
          <p:cNvPr id="20" name="矩形 19"/>
          <p:cNvSpPr/>
          <p:nvPr/>
        </p:nvSpPr>
        <p:spPr>
          <a:xfrm>
            <a:off x="4554009" y="5845548"/>
            <a:ext cx="3642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b="1" dirty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↓</a:t>
            </a:r>
            <a:endParaRPr lang="zh-TW" altLang="en-US" dirty="0"/>
          </a:p>
        </p:txBody>
      </p:sp>
      <p:sp>
        <p:nvSpPr>
          <p:cNvPr id="78" name="文字方塊 77"/>
          <p:cNvSpPr txBox="1"/>
          <p:nvPr/>
        </p:nvSpPr>
        <p:spPr>
          <a:xfrm>
            <a:off x="3397477" y="6086717"/>
            <a:ext cx="5376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人數</a:t>
            </a:r>
          </a:p>
        </p:txBody>
      </p:sp>
      <p:sp>
        <p:nvSpPr>
          <p:cNvPr id="79" name="文字方塊 78"/>
          <p:cNvSpPr txBox="1"/>
          <p:nvPr/>
        </p:nvSpPr>
        <p:spPr>
          <a:xfrm>
            <a:off x="5071182" y="1335524"/>
            <a:ext cx="45913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 algn="l">
              <a:buFont typeface="Arial" panose="020B0604020202020204" pitchFamily="34" charset="0"/>
              <a:buChar char="•"/>
            </a:pP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既有與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版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模型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ligible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單比較 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季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endParaRPr lang="en-US" altLang="zh-TW" sz="1600" b="1" dirty="0" smtClean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淨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增加 </a:t>
            </a:r>
            <a:r>
              <a:rPr lang="en-US" altLang="zh-TW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7.1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萬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有信貸需求名單數 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季</a:t>
            </a:r>
            <a:r>
              <a:rPr lang="en-US" altLang="zh-TW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  <a:p>
            <a:pPr marL="342900" indent="-342900" algn="l">
              <a:buFont typeface="+mj-lt"/>
              <a:buAutoNum type="arabicPeriod"/>
            </a:pP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約可增加 </a:t>
            </a:r>
            <a:r>
              <a:rPr lang="en-US" altLang="zh-TW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8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億的信貸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貸</a:t>
            </a:r>
            <a:r>
              <a:rPr lang="zh-TW" alt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 </a:t>
            </a:r>
            <a:r>
              <a:rPr lang="en-US" altLang="zh-TW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季</a:t>
            </a:r>
            <a:r>
              <a:rPr lang="en-US" altLang="zh-TW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endParaRPr lang="en-US" altLang="zh-TW" sz="1600" b="1" dirty="0" smtClean="0">
              <a:solidFill>
                <a:schemeClr val="tx1">
                  <a:lumMod val="65000"/>
                  <a:lumOff val="3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44034" name="Picture 2" descr="C:\Users\Z00044610\Downloads\chec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4009" y="2320914"/>
            <a:ext cx="304588" cy="304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矩形 76"/>
          <p:cNvSpPr/>
          <p:nvPr/>
        </p:nvSpPr>
        <p:spPr bwMode="auto">
          <a:xfrm>
            <a:off x="1509185" y="3325704"/>
            <a:ext cx="612000" cy="143379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eaLnBrk="1" latinLnBrk="0" hangingPunct="1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無法</a:t>
            </a:r>
            <a:endParaRPr lang="en-US" altLang="zh-TW" sz="12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indent="0" defTabSz="889000" eaLnBrk="1" latinLnBrk="0" hangingPunct="1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提供</a:t>
            </a:r>
            <a:endParaRPr lang="zh-TW" altLang="en-US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82" name="直線接點 81"/>
          <p:cNvCxnSpPr/>
          <p:nvPr/>
        </p:nvCxnSpPr>
        <p:spPr bwMode="auto">
          <a:xfrm flipV="1">
            <a:off x="6443494" y="5309236"/>
            <a:ext cx="1619250" cy="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3" name="文字方塊 82"/>
          <p:cNvSpPr txBox="1"/>
          <p:nvPr/>
        </p:nvSpPr>
        <p:spPr>
          <a:xfrm>
            <a:off x="6422475" y="5385437"/>
            <a:ext cx="82619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既有模型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單數</a:t>
            </a:r>
            <a:endParaRPr lang="en-US" altLang="zh-TW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89" name="矩形 88"/>
          <p:cNvSpPr/>
          <p:nvPr/>
        </p:nvSpPr>
        <p:spPr bwMode="auto">
          <a:xfrm>
            <a:off x="6546854" y="4876581"/>
            <a:ext cx="61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舊戶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0" name="矩形 89"/>
          <p:cNvSpPr/>
          <p:nvPr/>
        </p:nvSpPr>
        <p:spPr bwMode="auto">
          <a:xfrm>
            <a:off x="6546319" y="4438572"/>
            <a:ext cx="61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大潛力</a:t>
            </a:r>
          </a:p>
        </p:txBody>
      </p:sp>
      <p:sp>
        <p:nvSpPr>
          <p:cNvPr id="91" name="矩形 90"/>
          <p:cNvSpPr/>
          <p:nvPr/>
        </p:nvSpPr>
        <p:spPr bwMode="auto">
          <a:xfrm>
            <a:off x="6546854" y="3992655"/>
            <a:ext cx="612000" cy="36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中潛力</a:t>
            </a:r>
          </a:p>
        </p:txBody>
      </p:sp>
      <p:sp>
        <p:nvSpPr>
          <p:cNvPr id="92" name="矩形 91"/>
          <p:cNvSpPr/>
          <p:nvPr/>
        </p:nvSpPr>
        <p:spPr bwMode="auto">
          <a:xfrm>
            <a:off x="6546319" y="3552564"/>
            <a:ext cx="612000" cy="360000"/>
          </a:xfrm>
          <a:prstGeom prst="rect">
            <a:avLst/>
          </a:prstGeom>
          <a:solidFill>
            <a:srgbClr val="FF6600"/>
          </a:solidFill>
          <a:ln w="952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小潛力</a:t>
            </a:r>
            <a:endParaRPr lang="zh-TW" altLang="en-US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5" name="文字方塊 94"/>
          <p:cNvSpPr txBox="1"/>
          <p:nvPr/>
        </p:nvSpPr>
        <p:spPr>
          <a:xfrm>
            <a:off x="5071182" y="3698067"/>
            <a:ext cx="11194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戶數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4.4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6.1E</a:t>
            </a:r>
          </a:p>
          <a:p>
            <a:pPr algn="l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5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7" name="文字方塊 96"/>
          <p:cNvSpPr txBox="1"/>
          <p:nvPr/>
        </p:nvSpPr>
        <p:spPr>
          <a:xfrm>
            <a:off x="8269207" y="3492149"/>
            <a:ext cx="139336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戶數：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7.4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r>
              <a:rPr lang="en-US" altLang="zh-TW" sz="1600" b="1" dirty="0" smtClean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6.7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</a:t>
            </a:r>
            <a:r>
              <a:rPr lang="en-US" altLang="zh-TW" sz="1600" b="1" dirty="0" smtClean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</a:p>
          <a:p>
            <a:pPr algn="l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5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8" name="文字方塊 97"/>
          <p:cNvSpPr txBox="1"/>
          <p:nvPr/>
        </p:nvSpPr>
        <p:spPr>
          <a:xfrm>
            <a:off x="5061421" y="2989077"/>
            <a:ext cx="11291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戶數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1.0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2.6E</a:t>
            </a:r>
          </a:p>
          <a:p>
            <a:pPr algn="l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.5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9" name="文字方塊 98"/>
          <p:cNvSpPr txBox="1"/>
          <p:nvPr/>
        </p:nvSpPr>
        <p:spPr>
          <a:xfrm>
            <a:off x="8269951" y="2614999"/>
            <a:ext cx="139262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戶數：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5.0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r>
              <a:rPr lang="en-US" altLang="zh-TW" sz="1600" b="1" dirty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3.8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</a:t>
            </a:r>
            <a:r>
              <a:rPr lang="en-US" altLang="zh-TW" sz="1600" b="1" dirty="0" smtClean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</a:p>
          <a:p>
            <a:pPr algn="l"/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.5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0" name="矩形 99"/>
          <p:cNvSpPr/>
          <p:nvPr/>
        </p:nvSpPr>
        <p:spPr bwMode="auto">
          <a:xfrm>
            <a:off x="7365647" y="4872840"/>
            <a:ext cx="61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舊戶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1" name="矩形 100"/>
          <p:cNvSpPr/>
          <p:nvPr/>
        </p:nvSpPr>
        <p:spPr bwMode="auto">
          <a:xfrm>
            <a:off x="7365112" y="4434831"/>
            <a:ext cx="61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大潛力</a:t>
            </a:r>
          </a:p>
        </p:txBody>
      </p:sp>
      <p:sp>
        <p:nvSpPr>
          <p:cNvPr id="102" name="矩形 101"/>
          <p:cNvSpPr/>
          <p:nvPr/>
        </p:nvSpPr>
        <p:spPr bwMode="auto">
          <a:xfrm>
            <a:off x="7365647" y="3631568"/>
            <a:ext cx="612000" cy="72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中潛力</a:t>
            </a:r>
          </a:p>
        </p:txBody>
      </p:sp>
      <p:sp>
        <p:nvSpPr>
          <p:cNvPr id="103" name="矩形 102"/>
          <p:cNvSpPr/>
          <p:nvPr/>
        </p:nvSpPr>
        <p:spPr bwMode="auto">
          <a:xfrm>
            <a:off x="7365112" y="2819959"/>
            <a:ext cx="612000" cy="720000"/>
          </a:xfrm>
          <a:prstGeom prst="rect">
            <a:avLst/>
          </a:prstGeom>
          <a:solidFill>
            <a:srgbClr val="FF6600"/>
          </a:solidFill>
          <a:ln w="952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小潛力</a:t>
            </a:r>
            <a:endParaRPr lang="zh-TW" altLang="en-US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9" name="肘形接點 8"/>
          <p:cNvCxnSpPr>
            <a:stCxn id="99" idx="1"/>
            <a:endCxn id="103" idx="3"/>
          </p:cNvCxnSpPr>
          <p:nvPr/>
        </p:nvCxnSpPr>
        <p:spPr bwMode="auto">
          <a:xfrm rot="10800000" flipV="1">
            <a:off x="7977113" y="2999719"/>
            <a:ext cx="292839" cy="180239"/>
          </a:xfrm>
          <a:prstGeom prst="bentConnector3">
            <a:avLst/>
          </a:prstGeom>
          <a:noFill/>
          <a:ln w="9525" cap="flat" cmpd="sng" algn="ctr">
            <a:solidFill>
              <a:srgbClr val="FF6600"/>
            </a:solidFill>
            <a:prstDash val="dash"/>
            <a:round/>
            <a:headEnd type="oval" w="med" len="med"/>
            <a:tailEnd type="none" w="med" len="med"/>
          </a:ln>
          <a:effectLst/>
        </p:spPr>
      </p:cxnSp>
      <p:cxnSp>
        <p:nvCxnSpPr>
          <p:cNvPr id="105" name="肘形接點 104"/>
          <p:cNvCxnSpPr>
            <a:stCxn id="97" idx="1"/>
            <a:endCxn id="102" idx="3"/>
          </p:cNvCxnSpPr>
          <p:nvPr/>
        </p:nvCxnSpPr>
        <p:spPr bwMode="auto">
          <a:xfrm rot="10800000" flipV="1">
            <a:off x="7977647" y="3876870"/>
            <a:ext cx="291560" cy="11469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oval" w="med" len="med"/>
            <a:tailEnd type="none" w="med" len="med"/>
          </a:ln>
          <a:effectLst/>
        </p:spPr>
      </p:cxnSp>
      <p:cxnSp>
        <p:nvCxnSpPr>
          <p:cNvPr id="106" name="肘形接點 105"/>
          <p:cNvCxnSpPr>
            <a:stCxn id="98" idx="3"/>
            <a:endCxn id="92" idx="1"/>
          </p:cNvCxnSpPr>
          <p:nvPr/>
        </p:nvCxnSpPr>
        <p:spPr bwMode="auto">
          <a:xfrm>
            <a:off x="6190593" y="3312243"/>
            <a:ext cx="355726" cy="420321"/>
          </a:xfrm>
          <a:prstGeom prst="bentConnector3">
            <a:avLst/>
          </a:prstGeom>
          <a:noFill/>
          <a:ln w="9525" cap="flat" cmpd="sng" algn="ctr">
            <a:solidFill>
              <a:srgbClr val="FF6600"/>
            </a:solidFill>
            <a:prstDash val="dash"/>
            <a:round/>
            <a:headEnd type="oval" w="med" len="med"/>
            <a:tailEnd type="none" w="med" len="med"/>
          </a:ln>
          <a:effectLst/>
        </p:spPr>
      </p:cxnSp>
      <p:cxnSp>
        <p:nvCxnSpPr>
          <p:cNvPr id="107" name="肘形接點 106"/>
          <p:cNvCxnSpPr>
            <a:stCxn id="91" idx="1"/>
            <a:endCxn id="95" idx="3"/>
          </p:cNvCxnSpPr>
          <p:nvPr/>
        </p:nvCxnSpPr>
        <p:spPr bwMode="auto">
          <a:xfrm rot="10800000">
            <a:off x="6190594" y="4021233"/>
            <a:ext cx="356261" cy="15142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C000"/>
            </a:solidFill>
            <a:prstDash val="dash"/>
            <a:round/>
            <a:headEnd type="none" w="med" len="med"/>
            <a:tailEnd type="oval" w="med" len="med"/>
          </a:ln>
          <a:effectLst/>
        </p:spPr>
      </p:cxnSp>
      <p:pic>
        <p:nvPicPr>
          <p:cNvPr id="112" name="Picture 3" descr="C:\Users\Z00044610\Downloads\crow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31824">
            <a:off x="7108957" y="2504610"/>
            <a:ext cx="581167" cy="581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文字方塊 112"/>
          <p:cNvSpPr txBox="1"/>
          <p:nvPr/>
        </p:nvSpPr>
        <p:spPr>
          <a:xfrm>
            <a:off x="5100475" y="5312750"/>
            <a:ext cx="1238410" cy="87716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總戶數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2.7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en-US" altLang="zh-TW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>
              <a:lnSpc>
                <a:spcPct val="150000"/>
              </a:lnSpc>
            </a:pP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20.3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</a:t>
            </a:r>
          </a:p>
          <a:p>
            <a:pPr algn="l">
              <a:lnSpc>
                <a:spcPct val="150000"/>
              </a:lnSpc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5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5" name="文字方塊 114"/>
          <p:cNvSpPr txBox="1"/>
          <p:nvPr/>
        </p:nvSpPr>
        <p:spPr>
          <a:xfrm>
            <a:off x="7266216" y="5380996"/>
            <a:ext cx="82619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版模型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單數</a:t>
            </a:r>
            <a:endParaRPr lang="en-US" altLang="zh-TW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8" name="文字方塊 117"/>
          <p:cNvSpPr txBox="1"/>
          <p:nvPr/>
        </p:nvSpPr>
        <p:spPr>
          <a:xfrm>
            <a:off x="8210055" y="5305993"/>
            <a:ext cx="1238410" cy="87716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總戶數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9.8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en-US" altLang="zh-TW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>
              <a:lnSpc>
                <a:spcPct val="150000"/>
              </a:lnSpc>
            </a:pP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量：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$22.1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</a:t>
            </a:r>
          </a:p>
          <a:p>
            <a:pPr algn="l">
              <a:lnSpc>
                <a:spcPct val="150000"/>
              </a:lnSpc>
            </a:pP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：</a:t>
            </a:r>
            <a:r>
              <a:rPr lang="en-US" altLang="zh-TW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5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6" name="矩形 115"/>
          <p:cNvSpPr/>
          <p:nvPr/>
        </p:nvSpPr>
        <p:spPr>
          <a:xfrm>
            <a:off x="6467020" y="5913077"/>
            <a:ext cx="1572197" cy="2948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驗證時點：</a:t>
            </a:r>
            <a:r>
              <a:rPr lang="en-US" altLang="zh-TW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909</a:t>
            </a:r>
            <a:endParaRPr lang="en-US" altLang="zh-TW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0" name="橢圓 119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lang="en-US" altLang="zh-TW" sz="2700" b="1" dirty="0"/>
              <a:t>0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9440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標題 1"/>
          <p:cNvSpPr txBox="1">
            <a:spLocks/>
          </p:cNvSpPr>
          <p:nvPr/>
        </p:nvSpPr>
        <p:spPr bwMode="auto">
          <a:xfrm>
            <a:off x="803082" y="209496"/>
            <a:ext cx="8364995" cy="505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+mj-cs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zh-TW" altLang="en-US" dirty="0">
                <a:latin typeface="Arial" panose="020B0604020202020204" pitchFamily="34" charset="0"/>
                <a:cs typeface="Arial" panose="020B0604020202020204" pitchFamily="34" charset="0"/>
              </a:rPr>
              <a:t> 檢視模型框架：評估模型預測狹義或廣義資金需求</a:t>
            </a:r>
            <a:endParaRPr lang="zh-TW" altLang="en-US" kern="0" dirty="0"/>
          </a:p>
        </p:txBody>
      </p:sp>
      <p:sp>
        <p:nvSpPr>
          <p:cNvPr id="8" name="矩形 7"/>
          <p:cNvSpPr/>
          <p:nvPr/>
        </p:nvSpPr>
        <p:spPr bwMode="auto">
          <a:xfrm>
            <a:off x="0" y="781050"/>
            <a:ext cx="9906000" cy="6120000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7" name="AutoShape 5" descr="Man Standing Up - Free people icon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sp>
        <p:nvSpPr>
          <p:cNvPr id="18" name="AutoShape 7" descr="Man Standing Up - Free people icons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sp>
        <p:nvSpPr>
          <p:cNvPr id="20" name="橢圓 19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kumimoji="0" lang="en-US" altLang="zh-TW" sz="27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1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pSp>
        <p:nvGrpSpPr>
          <p:cNvPr id="3" name="群組 2"/>
          <p:cNvGrpSpPr/>
          <p:nvPr/>
        </p:nvGrpSpPr>
        <p:grpSpPr>
          <a:xfrm>
            <a:off x="251048" y="888435"/>
            <a:ext cx="9403904" cy="936625"/>
            <a:chOff x="279399" y="892175"/>
            <a:chExt cx="9403904" cy="936625"/>
          </a:xfrm>
        </p:grpSpPr>
        <p:sp>
          <p:nvSpPr>
            <p:cNvPr id="6" name="矩形 5"/>
            <p:cNvSpPr/>
            <p:nvPr/>
          </p:nvSpPr>
          <p:spPr bwMode="auto">
            <a:xfrm>
              <a:off x="279399" y="910487"/>
              <a:ext cx="4644000" cy="90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895350" algn="l" defTabSz="889000"/>
              <a:r>
                <a:rPr lang="zh-TW" altLang="en-US" sz="1800" b="1" u="sng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狹義信貸需求</a:t>
              </a:r>
              <a:r>
                <a:rPr lang="zh-TW" altLang="en-US" sz="1800" b="1" u="sng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模型</a:t>
              </a:r>
              <a:endParaRPr lang="en-US" altLang="zh-TW" sz="1800" b="1" u="sng" dirty="0" smtClean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895350" algn="l" defTabSz="889000">
                <a:spcBef>
                  <a:spcPts val="600"/>
                </a:spcBef>
              </a:pPr>
              <a:r>
                <a:rPr lang="zh-TW" altLang="en-US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假設</a:t>
              </a:r>
              <a:r>
                <a:rPr lang="en-US" altLang="zh-TW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: </a:t>
              </a:r>
              <a:r>
                <a:rPr lang="zh-TW" altLang="en-US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客戶多透過單一產品滿足資金需求</a:t>
              </a:r>
              <a:endParaRPr lang="en-US" altLang="zh-TW" b="1" dirty="0" smtClean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895350" algn="l" defTabSz="889000"/>
              <a:r>
                <a:rPr lang="zh-TW" altLang="en-US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架構</a:t>
              </a:r>
              <a:r>
                <a:rPr lang="en-US" altLang="zh-TW" b="1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: </a:t>
              </a:r>
              <a:r>
                <a:rPr lang="zh-TW" altLang="en-US" b="1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狹義產品需求</a:t>
              </a:r>
              <a:r>
                <a:rPr lang="zh-TW" altLang="en-US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分 </a:t>
              </a:r>
              <a:r>
                <a:rPr lang="en-US" altLang="zh-TW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x </a:t>
              </a:r>
              <a:r>
                <a:rPr lang="zh-TW" altLang="en-US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歸戶下最濃需求</a:t>
              </a:r>
              <a:endPara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4" name="矩形 13"/>
            <p:cNvSpPr/>
            <p:nvPr/>
          </p:nvSpPr>
          <p:spPr bwMode="auto">
            <a:xfrm>
              <a:off x="5039303" y="892175"/>
              <a:ext cx="4644000" cy="93662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895350" algn="l" defTabSz="889000"/>
              <a:r>
                <a:rPr lang="zh-TW" altLang="en-US" sz="1800" b="1" u="sng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廣義</a:t>
              </a:r>
              <a:r>
                <a:rPr lang="zh-TW" altLang="en-US" sz="1800" b="1" u="sng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資金需求</a:t>
              </a:r>
              <a:r>
                <a:rPr lang="zh-TW" altLang="en-US" sz="1800" b="1" u="sng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模型</a:t>
              </a:r>
              <a:endParaRPr lang="en-US" altLang="zh-TW" sz="1800" b="1" u="sng" dirty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895350" algn="l" defTabSz="889000">
                <a:spcBef>
                  <a:spcPts val="600"/>
                </a:spcBef>
              </a:pPr>
              <a:r>
                <a:rPr lang="zh-TW" altLang="en-US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假設</a:t>
              </a:r>
              <a:r>
                <a:rPr lang="en-US" altLang="zh-TW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: </a:t>
              </a:r>
              <a:r>
                <a:rPr lang="zh-TW" altLang="en-US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客戶會透過多產品滿足資金需求</a:t>
              </a:r>
              <a:endParaRPr lang="en-US" altLang="zh-TW" b="1" dirty="0" smtClean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895350" algn="l" defTabSz="889000"/>
              <a:r>
                <a:rPr lang="zh-TW" altLang="en-US" b="1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架構</a:t>
              </a:r>
              <a:r>
                <a:rPr lang="en-US" altLang="zh-TW" b="1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: </a:t>
              </a:r>
              <a:r>
                <a:rPr lang="zh-TW" altLang="en-US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廣義資金需求模型 </a:t>
              </a:r>
              <a:r>
                <a:rPr lang="en-US" altLang="zh-TW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x </a:t>
              </a:r>
              <a:r>
                <a:rPr lang="zh-TW" altLang="en-US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產品偏好</a:t>
              </a:r>
              <a:endParaRPr lang="en-US" altLang="zh-TW" b="1" dirty="0" smtClean="0"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1" name="矩形 10"/>
            <p:cNvSpPr/>
            <p:nvPr/>
          </p:nvSpPr>
          <p:spPr bwMode="auto">
            <a:xfrm>
              <a:off x="345148" y="965200"/>
              <a:ext cx="797852" cy="790575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kumimoji="0" lang="zh-TW" altLang="en-US" sz="1800" b="1" i="0" u="none" strike="noStrike" cap="none" normalizeH="0" baseline="0" dirty="0" smtClean="0">
                  <a:solidFill>
                    <a:schemeClr val="tx1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架構</a:t>
              </a:r>
              <a:endParaRPr kumimoji="0" lang="en-US" altLang="zh-TW" sz="1800" b="1" i="0" u="none" strike="noStrike" cap="none" normalizeH="0" baseline="0" dirty="0" smtClean="0">
                <a:solidFill>
                  <a:schemeClr val="tx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indent="0" defTabSz="889000" rtl="0" eaLnBrk="1" fontAlgn="base" latinLnBrk="0" hangingPunct="1"/>
              <a:r>
                <a:rPr lang="zh-TW" altLang="en-US" sz="1800" b="1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選擇</a:t>
              </a:r>
              <a:r>
                <a:rPr kumimoji="0" lang="en-US" altLang="zh-TW" sz="1800" b="1" i="0" u="none" strike="noStrike" cap="none" normalizeH="0" baseline="0" dirty="0" smtClean="0">
                  <a:solidFill>
                    <a:schemeClr val="tx1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</a:t>
              </a:r>
            </a:p>
          </p:txBody>
        </p:sp>
        <p:sp>
          <p:nvSpPr>
            <p:cNvPr id="22" name="矩形 21"/>
            <p:cNvSpPr/>
            <p:nvPr/>
          </p:nvSpPr>
          <p:spPr bwMode="auto">
            <a:xfrm>
              <a:off x="5117173" y="965200"/>
              <a:ext cx="797852" cy="790575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kumimoji="0" lang="zh-TW" altLang="en-US" sz="1800" b="1" i="0" u="none" strike="noStrike" cap="none" normalizeH="0" baseline="0" dirty="0" smtClean="0">
                  <a:solidFill>
                    <a:schemeClr val="tx1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架構</a:t>
              </a:r>
              <a:endParaRPr kumimoji="0" lang="en-US" altLang="zh-TW" sz="1800" b="1" i="0" u="none" strike="noStrike" cap="none" normalizeH="0" baseline="0" dirty="0" smtClean="0">
                <a:solidFill>
                  <a:schemeClr val="tx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indent="0" defTabSz="889000" rtl="0" eaLnBrk="1" fontAlgn="base" latinLnBrk="0" hangingPunct="1"/>
              <a:r>
                <a:rPr lang="zh-TW" altLang="en-US" sz="1800" b="1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選擇</a:t>
              </a:r>
              <a:r>
                <a:rPr lang="en-US" altLang="zh-TW" sz="1800" b="1" dirty="0" smtClean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</a:t>
              </a:r>
              <a:endParaRPr kumimoji="0" lang="en-US" altLang="zh-TW" sz="1800" b="1" i="0" u="none" strike="noStrike" cap="none" normalizeH="0" baseline="0" dirty="0" smtClean="0">
                <a:solidFill>
                  <a:schemeClr val="tx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sp>
        <p:nvSpPr>
          <p:cNvPr id="12" name="矩形 11"/>
          <p:cNvSpPr/>
          <p:nvPr/>
        </p:nvSpPr>
        <p:spPr bwMode="auto">
          <a:xfrm>
            <a:off x="0" y="1936630"/>
            <a:ext cx="9968873" cy="4572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kumimoji="0" lang="en-US" altLang="zh-TW" sz="1800" b="1" i="0" u="none" strike="noStrike" cap="none" normalizeH="0" baseline="0" dirty="0" smtClean="0">
                <a:solidFill>
                  <a:srgbClr val="FFC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2019/07</a:t>
            </a:r>
            <a:r>
              <a:rPr kumimoji="0" lang="zh-TW" altLang="en-US" sz="1800" b="1" i="0" u="none" strike="noStrike" cap="none" normalizeH="0" baseline="0" dirty="0" smtClean="0">
                <a:solidFill>
                  <a:srgbClr val="FFC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kumimoji="0" lang="en-US" altLang="zh-TW" sz="1800" b="1" i="0" u="none" strike="noStrike" cap="none" normalizeH="0" baseline="0" dirty="0" smtClean="0">
                <a:solidFill>
                  <a:srgbClr val="FFC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~</a:t>
            </a:r>
            <a:r>
              <a:rPr kumimoji="0" lang="zh-TW" altLang="en-US" sz="1800" b="1" i="0" u="none" strike="noStrike" cap="none" normalizeH="0" baseline="0" dirty="0" smtClean="0">
                <a:solidFill>
                  <a:srgbClr val="FFC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kumimoji="0" lang="en-US" altLang="zh-TW" sz="1800" b="1" i="0" u="none" strike="noStrike" cap="none" normalizeH="0" baseline="0" dirty="0" smtClean="0">
                <a:solidFill>
                  <a:srgbClr val="FFC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2019/09</a:t>
            </a:r>
            <a:r>
              <a:rPr kumimoji="0" lang="zh-TW" altLang="en-US" sz="1800" b="1" i="0" u="none" strike="noStrike" cap="none" normalizeH="0" baseline="0" dirty="0" smtClean="0">
                <a:solidFill>
                  <a:srgbClr val="FFC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 資金需求客戶在各</a:t>
            </a:r>
            <a:r>
              <a:rPr kumimoji="0" lang="en-US" altLang="zh-TW" sz="1800" b="1" i="0" u="none" strike="noStrike" cap="none" normalizeH="0" baseline="0" dirty="0" smtClean="0">
                <a:solidFill>
                  <a:srgbClr val="FFC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Lending</a:t>
            </a:r>
            <a:r>
              <a:rPr kumimoji="0" lang="zh-TW" altLang="en-US" sz="1800" b="1" i="0" u="none" strike="noStrike" cap="none" normalizeH="0" baseline="0" dirty="0" smtClean="0">
                <a:solidFill>
                  <a:srgbClr val="FFC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產品申貸</a:t>
            </a:r>
            <a:r>
              <a:rPr kumimoji="0" lang="en-US" altLang="zh-TW" sz="1800" b="1" i="0" u="none" strike="noStrike" cap="none" normalizeH="0" baseline="0" dirty="0" smtClean="0">
                <a:solidFill>
                  <a:srgbClr val="FFC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kumimoji="0" lang="zh-TW" altLang="en-US" sz="1800" b="1" i="0" u="none" strike="noStrike" cap="none" normalizeH="0" baseline="0" dirty="0" smtClean="0">
                <a:solidFill>
                  <a:srgbClr val="FFC000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情形</a:t>
            </a:r>
            <a:endParaRPr kumimoji="0" lang="en-US" altLang="zh-TW" sz="1800" b="1" i="0" u="none" strike="noStrike" cap="none" normalizeH="0" baseline="0" dirty="0" smtClean="0">
              <a:solidFill>
                <a:srgbClr val="FFC000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aphicFrame>
        <p:nvGraphicFramePr>
          <p:cNvPr id="25" name="表格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4798133"/>
              </p:ext>
            </p:extLst>
          </p:nvPr>
        </p:nvGraphicFramePr>
        <p:xfrm>
          <a:off x="4177676" y="2482168"/>
          <a:ext cx="5496169" cy="4320000"/>
        </p:xfrm>
        <a:graphic>
          <a:graphicData uri="http://schemas.openxmlformats.org/drawingml/2006/table">
            <a:tbl>
              <a:tblPr/>
              <a:tblGrid>
                <a:gridCol w="783931"/>
                <a:gridCol w="785373"/>
                <a:gridCol w="785373"/>
                <a:gridCol w="785373"/>
                <a:gridCol w="785373"/>
                <a:gridCol w="785373"/>
                <a:gridCol w="785373"/>
              </a:tblGrid>
              <a:tr h="5400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有需</a:t>
                      </a:r>
                      <a:endParaRPr lang="en-US" altLang="zh-TW" sz="1400" b="1" i="0" u="none" strike="noStrike" dirty="0" smtClean="0">
                        <a:solidFill>
                          <a:srgbClr val="FFFFFF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  <a:p>
                      <a:pPr algn="ctr" fontAlgn="ctr"/>
                      <a:r>
                        <a:rPr lang="zh-TW" alt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客戶</a:t>
                      </a:r>
                      <a:endParaRPr 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zh-TW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客戶同時期有其他融資行為之佔</a:t>
                      </a:r>
                      <a:r>
                        <a:rPr lang="zh-TW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比</a:t>
                      </a:r>
                      <a:endParaRPr lang="zh-TW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zh-TW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540000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新增</a:t>
                      </a:r>
                      <a:r>
                        <a:rPr lang="zh-TW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融</a:t>
                      </a:r>
                      <a:r>
                        <a:rPr lang="zh-TW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房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新增</a:t>
                      </a:r>
                      <a:r>
                        <a:rPr lang="zh-TW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信貸</a:t>
                      </a:r>
                      <a:endParaRPr 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新增</a:t>
                      </a:r>
                      <a:r>
                        <a:rPr lang="zh-TW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預</a:t>
                      </a:r>
                      <a:r>
                        <a:rPr lang="zh-TW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現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新增</a:t>
                      </a:r>
                      <a:r>
                        <a:rPr lang="zh-TW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循環</a:t>
                      </a:r>
                      <a:endParaRPr 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新增</a:t>
                      </a:r>
                      <a:r>
                        <a:rPr lang="zh-TW" alt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帳分</a:t>
                      </a:r>
                      <a:endParaRPr 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新增</a:t>
                      </a:r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MI</a:t>
                      </a:r>
                      <a:endParaRPr 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新增</a:t>
                      </a:r>
                      <a:r>
                        <a:rPr lang="zh-TW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融</a:t>
                      </a:r>
                      <a:r>
                        <a:rPr lang="zh-TW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房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29,919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537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>
                          <a:effectLst/>
                        </a:rPr>
                        <a:t>782</a:t>
                      </a:r>
                      <a:endParaRPr lang="en-US" altLang="zh-TW" sz="1400" b="0" i="0" u="none" strike="noStrike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>
                          <a:effectLst/>
                        </a:rPr>
                        <a:t>2,424</a:t>
                      </a:r>
                      <a:endParaRPr lang="en-US" altLang="zh-TW" sz="1400" b="0" i="0" u="none" strike="noStrike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>
                          <a:effectLst/>
                        </a:rPr>
                        <a:t>509</a:t>
                      </a:r>
                      <a:endParaRPr lang="en-US" altLang="zh-TW" sz="1400" b="0" i="0" u="none" strike="noStrike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>
                          <a:effectLst/>
                        </a:rPr>
                        <a:t>6,448</a:t>
                      </a:r>
                      <a:endParaRPr lang="en-US" altLang="zh-TW" sz="1400" b="0" i="0" u="none" strike="noStrike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新增</a:t>
                      </a:r>
                      <a:r>
                        <a:rPr lang="zh-TW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信貸</a:t>
                      </a:r>
                      <a:endParaRPr 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537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45,369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4,329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13,317</a:t>
                      </a:r>
                      <a:endParaRPr lang="en-US" altLang="zh-TW" sz="1400" b="1" i="0" u="none" strike="noStrike" dirty="0">
                        <a:solidFill>
                          <a:srgbClr val="0070C0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3,492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1" u="none" strike="noStrike" dirty="0">
                          <a:solidFill>
                            <a:srgbClr val="0070C0"/>
                          </a:solidFill>
                          <a:effectLst/>
                        </a:rPr>
                        <a:t>11,554</a:t>
                      </a:r>
                      <a:endParaRPr lang="en-US" altLang="zh-TW" sz="1400" b="1" i="0" u="none" strike="noStrike" dirty="0">
                        <a:solidFill>
                          <a:srgbClr val="0070C0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新增</a:t>
                      </a:r>
                      <a:r>
                        <a:rPr lang="zh-TW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預</a:t>
                      </a:r>
                      <a:r>
                        <a:rPr lang="zh-TW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現</a:t>
                      </a: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>
                          <a:effectLst/>
                        </a:rPr>
                        <a:t>782</a:t>
                      </a:r>
                      <a:endParaRPr lang="en-US" altLang="zh-TW" sz="1400" b="0" i="0" u="none" strike="noStrike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4,329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71,722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42,851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9,315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17,119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新增</a:t>
                      </a:r>
                      <a:r>
                        <a:rPr lang="zh-TW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循環</a:t>
                      </a:r>
                      <a:endParaRPr 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2,424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1,331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42,851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463,842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22,136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85,577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新增</a:t>
                      </a:r>
                      <a:r>
                        <a:rPr lang="zh-TW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帳分</a:t>
                      </a:r>
                      <a:endParaRPr 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>
                          <a:effectLst/>
                        </a:rPr>
                        <a:t>509</a:t>
                      </a:r>
                      <a:endParaRPr lang="en-US" altLang="zh-TW" sz="1400" b="0" i="0" u="none" strike="noStrike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>
                          <a:effectLst/>
                        </a:rPr>
                        <a:t>3,492</a:t>
                      </a:r>
                      <a:endParaRPr lang="en-US" altLang="zh-TW" sz="1400" b="0" i="0" u="none" strike="noStrike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>
                          <a:effectLst/>
                        </a:rPr>
                        <a:t>9,315</a:t>
                      </a:r>
                      <a:endParaRPr lang="en-US" altLang="zh-TW" sz="1400" b="0" i="0" u="none" strike="noStrike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22,136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66,998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>
                          <a:effectLst/>
                        </a:rPr>
                        <a:t>32,379</a:t>
                      </a:r>
                      <a:endParaRPr lang="en-US" altLang="zh-TW" sz="1400" b="0" i="0" u="none" strike="noStrike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新增</a:t>
                      </a:r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微軟正黑體" panose="020B0604030504040204" pitchFamily="34" charset="-120"/>
                        </a:rPr>
                        <a:t>MI</a:t>
                      </a:r>
                      <a:endParaRPr lang="zh-TW" sz="14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marL="36000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>
                          <a:effectLst/>
                        </a:rPr>
                        <a:t>6,448</a:t>
                      </a:r>
                      <a:endParaRPr lang="en-US" altLang="zh-TW" sz="1400" b="0" i="0" u="none" strike="noStrike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11,554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>
                          <a:effectLst/>
                        </a:rPr>
                        <a:t>17,119</a:t>
                      </a:r>
                      <a:endParaRPr lang="en-US" altLang="zh-TW" sz="1400" b="0" i="0" u="none" strike="noStrike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85,577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32,379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u="none" strike="noStrike" dirty="0">
                          <a:effectLst/>
                        </a:rPr>
                        <a:t>680,932</a:t>
                      </a:r>
                      <a:endParaRPr lang="en-US" altLang="zh-TW" sz="1400" b="0" i="0" u="none" strike="noStrike" dirty="0">
                        <a:solidFill>
                          <a:srgbClr val="1F497D"/>
                        </a:solidFill>
                        <a:effectLst/>
                        <a:latin typeface="微軟正黑體"/>
                      </a:endParaRPr>
                    </a:p>
                  </a:txBody>
                  <a:tcPr marL="36000" marR="36000" marT="9060" marB="0" anchor="ctr">
                    <a:lnL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95959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6" name="橢圓 25"/>
          <p:cNvSpPr/>
          <p:nvPr/>
        </p:nvSpPr>
        <p:spPr bwMode="auto">
          <a:xfrm>
            <a:off x="933910" y="4594815"/>
            <a:ext cx="1440000" cy="144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4" name="文字方塊 23"/>
          <p:cNvSpPr txBox="1"/>
          <p:nvPr/>
        </p:nvSpPr>
        <p:spPr>
          <a:xfrm>
            <a:off x="251048" y="2482167"/>
            <a:ext cx="3799659" cy="1189587"/>
          </a:xfrm>
          <a:prstGeom prst="rect">
            <a:avLst/>
          </a:prstGeom>
          <a:noFill/>
          <a:ln>
            <a:solidFill>
              <a:schemeClr val="bg1"/>
            </a:solidFill>
            <a:prstDash val="sysDash"/>
          </a:ln>
        </p:spPr>
        <p:txBody>
          <a:bodyPr wrap="square" tIns="36000" rtlCol="0" anchor="ctr" anchorCtr="0">
            <a:noAutofit/>
          </a:bodyPr>
          <a:lstStyle/>
          <a:p>
            <a:pPr algn="l"/>
            <a:r>
              <a:rPr lang="en-US" altLang="zh-TW" sz="1600" b="1" u="sng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19.Q3</a:t>
            </a:r>
            <a:r>
              <a:rPr lang="zh-TW" altLang="en-US" sz="1600" b="1" u="sng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申貸信貸客戶</a:t>
            </a:r>
            <a:r>
              <a:rPr lang="en-US" altLang="zh-TW" sz="1600" b="1" u="sng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4.5</a:t>
            </a:r>
            <a:r>
              <a:rPr lang="zh-TW" altLang="en-US" sz="1600" b="1" u="sng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r>
              <a:rPr lang="en-US" altLang="zh-TW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</a:p>
          <a:p>
            <a:pPr marL="180975" indent="-180975" algn="l">
              <a:buFont typeface="Arial" panose="020B0604020202020204" pitchFamily="34" charset="0"/>
              <a:buChar char="•"/>
            </a:pPr>
            <a:r>
              <a:rPr lang="en-US" altLang="zh-TW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3</a:t>
            </a:r>
            <a:r>
              <a:rPr lang="zh-TW" altLang="en-US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戶</a:t>
            </a:r>
            <a:r>
              <a:rPr lang="en-US" altLang="zh-TW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29%)</a:t>
            </a:r>
            <a:r>
              <a:rPr lang="zh-TW" altLang="en-US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同時新增循環</a:t>
            </a:r>
            <a:endParaRPr lang="en-US" altLang="zh-TW" sz="16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180975" indent="-180975" algn="l">
              <a:buFont typeface="Arial" panose="020B0604020202020204" pitchFamily="34" charset="0"/>
              <a:buChar char="•"/>
            </a:pPr>
            <a:r>
              <a:rPr lang="en-US" altLang="zh-TW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2</a:t>
            </a:r>
            <a:r>
              <a:rPr lang="zh-TW" altLang="en-US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戶</a:t>
            </a:r>
            <a:r>
              <a:rPr lang="en-US" altLang="zh-TW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26%)</a:t>
            </a:r>
            <a:r>
              <a:rPr lang="zh-TW" altLang="en-US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同時新增</a:t>
            </a:r>
            <a:r>
              <a:rPr lang="zh-TW" altLang="en-US" sz="16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消費分期</a:t>
            </a:r>
            <a:endParaRPr lang="en-US" altLang="zh-TW" sz="16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180975" indent="-180975" algn="l">
              <a:buFont typeface="Arial" panose="020B0604020202020204" pitchFamily="34" charset="0"/>
              <a:buChar char="•"/>
            </a:pPr>
            <a:r>
              <a:rPr lang="en-US" altLang="zh-TW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.4</a:t>
            </a:r>
            <a:r>
              <a:rPr lang="zh-TW" altLang="en-US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戶</a:t>
            </a:r>
            <a:r>
              <a:rPr lang="en-US" altLang="zh-TW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53%)</a:t>
            </a:r>
            <a:r>
              <a:rPr lang="zh-TW" altLang="en-US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僅有申貸信貸</a:t>
            </a:r>
            <a:endParaRPr lang="en-US" altLang="zh-TW" sz="16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" name="橢圓 27"/>
          <p:cNvSpPr/>
          <p:nvPr/>
        </p:nvSpPr>
        <p:spPr bwMode="auto">
          <a:xfrm>
            <a:off x="1591679" y="3800768"/>
            <a:ext cx="1800000" cy="1800000"/>
          </a:xfrm>
          <a:prstGeom prst="ellipse">
            <a:avLst/>
          </a:prstGeom>
          <a:solidFill>
            <a:srgbClr val="CCCCFF">
              <a:alpha val="70000"/>
            </a:srgb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5" name="肘形接點 4"/>
          <p:cNvCxnSpPr>
            <a:endCxn id="13" idx="2"/>
          </p:cNvCxnSpPr>
          <p:nvPr/>
        </p:nvCxnSpPr>
        <p:spPr bwMode="auto">
          <a:xfrm rot="16200000" flipH="1">
            <a:off x="333988" y="3891289"/>
            <a:ext cx="923061" cy="483987"/>
          </a:xfrm>
          <a:prstGeom prst="bentConnector2">
            <a:avLst/>
          </a:prstGeom>
          <a:noFill/>
          <a:ln w="9525" cap="flat" cmpd="sng" algn="ctr">
            <a:solidFill>
              <a:schemeClr val="bg1"/>
            </a:solidFill>
            <a:prstDash val="sysDash"/>
            <a:round/>
            <a:headEnd type="none" w="med" len="med"/>
            <a:tailEnd type="oval" w="med" len="med"/>
          </a:ln>
          <a:effectLst/>
        </p:spPr>
      </p:cxnSp>
      <p:sp>
        <p:nvSpPr>
          <p:cNvPr id="23" name="文字方塊 22"/>
          <p:cNvSpPr txBox="1"/>
          <p:nvPr/>
        </p:nvSpPr>
        <p:spPr>
          <a:xfrm>
            <a:off x="137512" y="3964042"/>
            <a:ext cx="900000" cy="523220"/>
          </a:xfrm>
          <a:prstGeom prst="rect">
            <a:avLst/>
          </a:prstGeom>
          <a:solidFill>
            <a:srgbClr val="009999"/>
          </a:solidFill>
        </p:spPr>
        <p:txBody>
          <a:bodyPr wrap="square" rtlCol="0">
            <a:spAutoFit/>
          </a:bodyPr>
          <a:lstStyle/>
          <a:p>
            <a:r>
              <a:rPr lang="zh-TW" altLang="en-US" b="1" dirty="0" smtClean="0">
                <a:effectLst>
                  <a:glow rad="127000">
                    <a:schemeClr val="bg1"/>
                  </a:glow>
                </a:effectLst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申貸信貸</a:t>
            </a:r>
            <a:endParaRPr lang="en-US" altLang="zh-TW" b="1" dirty="0" smtClean="0">
              <a:effectLst>
                <a:glow rad="127000">
                  <a:schemeClr val="bg1"/>
                </a:glow>
              </a:effectLst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r>
              <a:rPr lang="en-US" altLang="zh-TW" b="1" dirty="0" smtClean="0">
                <a:effectLst>
                  <a:glow rad="127000">
                    <a:schemeClr val="bg1"/>
                  </a:glow>
                </a:effectLst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4.5</a:t>
            </a:r>
            <a:r>
              <a:rPr lang="zh-TW" altLang="en-US" b="1" dirty="0" smtClean="0">
                <a:effectLst>
                  <a:glow rad="127000">
                    <a:schemeClr val="bg1"/>
                  </a:glow>
                </a:effectLst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萬戶</a:t>
            </a:r>
          </a:p>
        </p:txBody>
      </p:sp>
      <p:sp>
        <p:nvSpPr>
          <p:cNvPr id="13" name="橢圓 12"/>
          <p:cNvSpPr/>
          <p:nvPr/>
        </p:nvSpPr>
        <p:spPr bwMode="auto">
          <a:xfrm>
            <a:off x="1037512" y="4128089"/>
            <a:ext cx="930275" cy="933450"/>
          </a:xfrm>
          <a:prstGeom prst="ellipse">
            <a:avLst/>
          </a:prstGeom>
          <a:solidFill>
            <a:srgbClr val="FFC000">
              <a:alpha val="79000"/>
            </a:srgb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0" name="文字方塊 29"/>
          <p:cNvSpPr txBox="1"/>
          <p:nvPr/>
        </p:nvSpPr>
        <p:spPr>
          <a:xfrm>
            <a:off x="430465" y="5231436"/>
            <a:ext cx="90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 smtClean="0">
                <a:effectLst>
                  <a:glow rad="127000">
                    <a:schemeClr val="bg1"/>
                  </a:glow>
                </a:effectLst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循環增加</a:t>
            </a:r>
            <a:endParaRPr lang="en-US" altLang="zh-TW" b="1" dirty="0" smtClean="0">
              <a:effectLst>
                <a:glow rad="127000">
                  <a:schemeClr val="bg1"/>
                </a:glow>
              </a:effectLst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r>
              <a:rPr lang="en-US" altLang="zh-TW" b="1" dirty="0" smtClean="0">
                <a:effectLst>
                  <a:glow rad="127000">
                    <a:schemeClr val="bg1"/>
                  </a:glow>
                </a:effectLst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46</a:t>
            </a:r>
            <a:r>
              <a:rPr lang="zh-TW" altLang="en-US" b="1" dirty="0" smtClean="0">
                <a:effectLst>
                  <a:glow rad="127000">
                    <a:schemeClr val="bg1"/>
                  </a:glow>
                </a:effectLst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萬戶</a:t>
            </a:r>
          </a:p>
        </p:txBody>
      </p:sp>
      <p:sp>
        <p:nvSpPr>
          <p:cNvPr id="27" name="矩形 26"/>
          <p:cNvSpPr/>
          <p:nvPr/>
        </p:nvSpPr>
        <p:spPr>
          <a:xfrm>
            <a:off x="251047" y="6091642"/>
            <a:ext cx="379965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Bef>
                <a:spcPts val="600"/>
              </a:spcBef>
            </a:pPr>
            <a:r>
              <a:rPr lang="zh-TW" altLang="en-US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需求客戶約三成同時透過循環</a:t>
            </a:r>
            <a:r>
              <a:rPr lang="zh-TW" altLang="en-US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帳</a:t>
            </a:r>
            <a:r>
              <a:rPr lang="zh-TW" altLang="en-US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滿足資金需求，惟有循環</a:t>
            </a:r>
            <a:r>
              <a:rPr lang="en-US" altLang="zh-TW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分</a:t>
            </a:r>
            <a:r>
              <a:rPr lang="zh-TW" altLang="en-US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戶</a:t>
            </a:r>
            <a:r>
              <a:rPr lang="zh-TW" altLang="en-US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僅少數選擇申貸信貸</a:t>
            </a:r>
            <a:r>
              <a:rPr lang="zh-TW" altLang="en-US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若合併</a:t>
            </a:r>
            <a:r>
              <a:rPr lang="zh-TW" altLang="en-US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建</a:t>
            </a:r>
            <a:r>
              <a:rPr lang="zh-TW" altLang="en-US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模，信貸客戶可能</a:t>
            </a:r>
            <a:r>
              <a:rPr lang="zh-TW" altLang="en-US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被稀釋。</a:t>
            </a:r>
            <a:endParaRPr lang="en-US" altLang="zh-TW" b="1" dirty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2" name="文字方塊 31"/>
          <p:cNvSpPr txBox="1"/>
          <p:nvPr/>
        </p:nvSpPr>
        <p:spPr>
          <a:xfrm>
            <a:off x="2670969" y="4439158"/>
            <a:ext cx="12605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 smtClean="0">
                <a:effectLst>
                  <a:glow rad="127000">
                    <a:schemeClr val="bg1"/>
                  </a:glow>
                </a:effectLst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消費分期增加</a:t>
            </a:r>
            <a:endParaRPr lang="en-US" altLang="zh-TW" b="1" dirty="0" smtClean="0">
              <a:effectLst>
                <a:glow rad="127000">
                  <a:schemeClr val="bg1"/>
                </a:glow>
              </a:effectLst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r>
              <a:rPr lang="en-US" altLang="zh-TW" b="1" dirty="0" smtClean="0">
                <a:effectLst>
                  <a:glow rad="127000">
                    <a:schemeClr val="bg1"/>
                  </a:glow>
                </a:effectLst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68</a:t>
            </a:r>
            <a:r>
              <a:rPr lang="zh-TW" altLang="en-US" b="1" dirty="0" smtClean="0">
                <a:effectLst>
                  <a:glow rad="127000">
                    <a:schemeClr val="bg1"/>
                  </a:glow>
                </a:effectLst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萬戶</a:t>
            </a:r>
          </a:p>
        </p:txBody>
      </p:sp>
      <p:sp>
        <p:nvSpPr>
          <p:cNvPr id="31" name="投影片編號版面配置區 3"/>
          <p:cNvSpPr txBox="1">
            <a:spLocks/>
          </p:cNvSpPr>
          <p:nvPr/>
        </p:nvSpPr>
        <p:spPr>
          <a:xfrm>
            <a:off x="9536400" y="6381330"/>
            <a:ext cx="488504" cy="36512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DA0BB7-265A-403C-9275-D587AB510EDC}" type="slidenum">
              <a:rPr lang="zh-TW" altLang="en-US" smtClean="0">
                <a:solidFill>
                  <a:schemeClr val="bg1"/>
                </a:solidFill>
              </a:rPr>
              <a:pPr/>
              <a:t>2</a:t>
            </a:fld>
            <a:endParaRPr lang="zh-TW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2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標題 1"/>
          <p:cNvSpPr txBox="1">
            <a:spLocks/>
          </p:cNvSpPr>
          <p:nvPr/>
        </p:nvSpPr>
        <p:spPr bwMode="auto">
          <a:xfrm>
            <a:off x="803082" y="209496"/>
            <a:ext cx="8364995" cy="505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+mj-cs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zh-TW" altLang="en-US" dirty="0"/>
              <a:t> 廣納新數據：本次迭代納入新型態數據，深化意圖捕捉</a:t>
            </a:r>
            <a:endParaRPr lang="zh-TW" altLang="en-US" kern="0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5" name="矩形 4"/>
          <p:cNvSpPr/>
          <p:nvPr/>
        </p:nvSpPr>
        <p:spPr bwMode="auto">
          <a:xfrm>
            <a:off x="0" y="781050"/>
            <a:ext cx="9906000" cy="6076950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204523" y="927100"/>
            <a:ext cx="9554774" cy="86751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" name="矩形 6"/>
          <p:cNvSpPr/>
          <p:nvPr/>
        </p:nvSpPr>
        <p:spPr bwMode="auto">
          <a:xfrm>
            <a:off x="6294735" y="1004862"/>
            <a:ext cx="108000" cy="684000"/>
          </a:xfrm>
          <a:prstGeom prst="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6437608" y="1022862"/>
            <a:ext cx="313200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/>
            <a:r>
              <a:rPr lang="en-US" altLang="zh-TW" sz="18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’20</a:t>
            </a:r>
            <a:r>
              <a:rPr lang="zh-TW" altLang="en-US" sz="18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</a:t>
            </a:r>
            <a:endParaRPr lang="en-US" altLang="zh-TW" sz="1800" b="1" dirty="0" smtClean="0">
              <a:solidFill>
                <a:srgbClr val="2D97A5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pPr algn="l" fontAlgn="auto"/>
            <a:r>
              <a:rPr lang="en-US" altLang="zh-TW" sz="23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+</a:t>
            </a:r>
            <a:r>
              <a:rPr lang="zh-TW" altLang="en-US" sz="23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新型態、非結構數據</a:t>
            </a:r>
            <a:endParaRPr lang="zh-TW" altLang="en-US" sz="2300" b="1" dirty="0">
              <a:solidFill>
                <a:srgbClr val="2D97A5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390599" y="1022862"/>
            <a:ext cx="29432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/>
            <a:r>
              <a:rPr lang="en-US" altLang="zh-TW" sz="18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’18</a:t>
            </a:r>
            <a:r>
              <a:rPr lang="zh-TW" altLang="en-US" sz="18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</a:t>
            </a:r>
            <a:endParaRPr lang="en-US" altLang="zh-TW" sz="1800" b="1" dirty="0" smtClean="0">
              <a:solidFill>
                <a:srgbClr val="2D97A5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pPr algn="l" fontAlgn="auto"/>
            <a:r>
              <a:rPr lang="zh-TW" altLang="en-US" sz="18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風險行為特徵為主</a:t>
            </a:r>
            <a:endParaRPr lang="zh-TW" altLang="en-US" sz="1800" b="1" dirty="0">
              <a:solidFill>
                <a:srgbClr val="2D97A5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 bwMode="auto">
          <a:xfrm>
            <a:off x="282600" y="1004862"/>
            <a:ext cx="108000" cy="684000"/>
          </a:xfrm>
          <a:prstGeom prst="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3014505" y="1004862"/>
            <a:ext cx="108000" cy="684000"/>
          </a:xfrm>
          <a:prstGeom prst="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107991" y="1022862"/>
            <a:ext cx="3204000" cy="648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/>
            <a:r>
              <a:rPr lang="en-US" altLang="zh-TW" sz="18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’19</a:t>
            </a:r>
            <a:r>
              <a:rPr lang="zh-TW" altLang="en-US" sz="18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</a:t>
            </a:r>
            <a:endParaRPr lang="en-US" altLang="zh-TW" sz="1800" b="1" dirty="0" smtClean="0">
              <a:solidFill>
                <a:srgbClr val="2D97A5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pPr algn="l" fontAlgn="auto"/>
            <a:r>
              <a:rPr lang="en-US" altLang="zh-TW" sz="18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+</a:t>
            </a:r>
            <a:r>
              <a:rPr lang="zh-TW" altLang="en-US" sz="18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關聯</a:t>
            </a:r>
            <a:r>
              <a:rPr lang="zh-TW" altLang="en-US" sz="1800" b="1" dirty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、家</a:t>
            </a:r>
            <a:r>
              <a:rPr lang="zh-TW" altLang="en-US" sz="1800" b="1" dirty="0" smtClean="0">
                <a:solidFill>
                  <a:srgbClr val="2D97A5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戶、趨勢預測</a:t>
            </a:r>
            <a:endParaRPr lang="zh-TW" altLang="en-US" sz="1800" b="1" dirty="0">
              <a:solidFill>
                <a:srgbClr val="2D97A5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13" name="橢圓 12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kumimoji="0" lang="en-US" altLang="zh-TW" sz="27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2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4" name="文字方塊 13"/>
          <p:cNvSpPr txBox="1"/>
          <p:nvPr/>
        </p:nvSpPr>
        <p:spPr>
          <a:xfrm>
            <a:off x="-3224323" y="9635"/>
            <a:ext cx="30289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dirty="0" smtClean="0">
                <a:latin typeface="+mn-lt"/>
              </a:rPr>
              <a:t>金流也有階段的分別 </a:t>
            </a:r>
            <a:endParaRPr lang="en-US" altLang="zh-TW" dirty="0" smtClean="0">
              <a:latin typeface="+mn-lt"/>
            </a:endParaRPr>
          </a:p>
          <a:p>
            <a:r>
              <a:rPr lang="zh-TW" altLang="en-US" dirty="0"/>
              <a:t>怎麼顯示出這次</a:t>
            </a:r>
            <a:r>
              <a:rPr lang="zh-TW" altLang="en-US" dirty="0" smtClean="0"/>
              <a:t>做</a:t>
            </a:r>
            <a:r>
              <a:rPr lang="en-US" altLang="zh-TW" dirty="0" smtClean="0"/>
              <a:t>6</a:t>
            </a:r>
            <a:r>
              <a:rPr lang="zh-TW" altLang="en-US" dirty="0" smtClean="0"/>
              <a:t>個月的時間</a:t>
            </a:r>
            <a:endParaRPr lang="en-US" altLang="zh-TW" dirty="0" smtClean="0"/>
          </a:p>
          <a:p>
            <a:r>
              <a:rPr lang="zh-TW" altLang="en-US" dirty="0" smtClean="0">
                <a:latin typeface="+mn-lt"/>
              </a:rPr>
              <a:t>是花在甚麼事情上</a:t>
            </a:r>
          </a:p>
        </p:txBody>
      </p:sp>
      <p:grpSp>
        <p:nvGrpSpPr>
          <p:cNvPr id="4" name="群組 3"/>
          <p:cNvGrpSpPr/>
          <p:nvPr/>
        </p:nvGrpSpPr>
        <p:grpSpPr>
          <a:xfrm>
            <a:off x="408440" y="5004571"/>
            <a:ext cx="720000" cy="720000"/>
            <a:chOff x="1010700" y="4085131"/>
            <a:chExt cx="720000" cy="720000"/>
          </a:xfrm>
        </p:grpSpPr>
        <p:sp>
          <p:nvSpPr>
            <p:cNvPr id="15" name="橢圓 14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17" name="橢圓 16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過去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行為</a:t>
              </a:r>
              <a:endParaRPr lang="zh-TW" altLang="en-US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sp>
        <p:nvSpPr>
          <p:cNvPr id="18" name="橢圓 17"/>
          <p:cNvSpPr/>
          <p:nvPr/>
        </p:nvSpPr>
        <p:spPr bwMode="auto">
          <a:xfrm>
            <a:off x="10644100" y="-215020"/>
            <a:ext cx="666750" cy="6762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9" name="六邊形 18"/>
          <p:cNvSpPr/>
          <p:nvPr/>
        </p:nvSpPr>
        <p:spPr>
          <a:xfrm>
            <a:off x="14767234" y="2104305"/>
            <a:ext cx="1296144" cy="1117366"/>
          </a:xfrm>
          <a:prstGeom prst="hexagon">
            <a:avLst/>
          </a:prstGeom>
          <a:solidFill>
            <a:srgbClr val="2D97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AT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0" name="六邊形 19"/>
          <p:cNvSpPr/>
          <p:nvPr/>
        </p:nvSpPr>
        <p:spPr>
          <a:xfrm>
            <a:off x="14767234" y="917416"/>
            <a:ext cx="1296144" cy="1117366"/>
          </a:xfrm>
          <a:prstGeom prst="hexagon">
            <a:avLst/>
          </a:prstGeom>
          <a:solidFill>
            <a:srgbClr val="7E848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ST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( </a:t>
            </a:r>
            <a:r>
              <a:rPr kumimoji="0" lang="zh-TW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待開發</a:t>
            </a:r>
            <a:r>
              <a:rPr kumimoji="0" lang="en-US" altLang="zh-TW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 )</a:t>
            </a:r>
            <a:endParaRPr kumimoji="0" lang="zh-TW" altLang="en-US" sz="18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1" name="六邊形 20"/>
          <p:cNvSpPr/>
          <p:nvPr/>
        </p:nvSpPr>
        <p:spPr>
          <a:xfrm>
            <a:off x="10197650" y="5753885"/>
            <a:ext cx="1296144" cy="1117366"/>
          </a:xfrm>
          <a:prstGeom prst="hexagon">
            <a:avLst/>
          </a:pr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過去行為</a:t>
            </a:r>
          </a:p>
        </p:txBody>
      </p:sp>
      <p:sp>
        <p:nvSpPr>
          <p:cNvPr id="22" name="六邊形 21"/>
          <p:cNvSpPr/>
          <p:nvPr/>
        </p:nvSpPr>
        <p:spPr>
          <a:xfrm>
            <a:off x="11310850" y="5133611"/>
            <a:ext cx="1296144" cy="1117366"/>
          </a:xfrm>
          <a:prstGeom prst="hexagon">
            <a:avLst/>
          </a:pr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TW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消費</a:t>
            </a:r>
          </a:p>
        </p:txBody>
      </p:sp>
      <p:sp>
        <p:nvSpPr>
          <p:cNvPr id="23" name="六邊形 22"/>
          <p:cNvSpPr/>
          <p:nvPr/>
        </p:nvSpPr>
        <p:spPr>
          <a:xfrm>
            <a:off x="12500365" y="5753885"/>
            <a:ext cx="1296144" cy="1117366"/>
          </a:xfrm>
          <a:prstGeom prst="hexagon">
            <a:avLst/>
          </a:pr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風險變數</a:t>
            </a:r>
          </a:p>
        </p:txBody>
      </p:sp>
      <p:sp>
        <p:nvSpPr>
          <p:cNvPr id="24" name="六邊形 23"/>
          <p:cNvSpPr/>
          <p:nvPr/>
        </p:nvSpPr>
        <p:spPr>
          <a:xfrm>
            <a:off x="10197650" y="4555062"/>
            <a:ext cx="1296144" cy="1117366"/>
          </a:xfrm>
          <a:prstGeom prst="hexagon">
            <a:avLst/>
          </a:pr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基本屬性</a:t>
            </a:r>
          </a:p>
        </p:txBody>
      </p:sp>
      <p:sp>
        <p:nvSpPr>
          <p:cNvPr id="25" name="六邊形 24"/>
          <p:cNvSpPr/>
          <p:nvPr/>
        </p:nvSpPr>
        <p:spPr>
          <a:xfrm>
            <a:off x="12500365" y="4555062"/>
            <a:ext cx="1296144" cy="1117366"/>
          </a:xfrm>
          <a:prstGeom prst="hexagon">
            <a:avLst/>
          </a:pr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金流往來</a:t>
            </a:r>
          </a:p>
        </p:txBody>
      </p:sp>
      <p:sp>
        <p:nvSpPr>
          <p:cNvPr id="26" name="六邊形 25"/>
          <p:cNvSpPr/>
          <p:nvPr/>
        </p:nvSpPr>
        <p:spPr>
          <a:xfrm>
            <a:off x="13658717" y="5096364"/>
            <a:ext cx="1296144" cy="1117366"/>
          </a:xfrm>
          <a:prstGeom prst="hexagon">
            <a:avLst/>
          </a:pr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JCIC</a:t>
            </a: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六邊形 26"/>
          <p:cNvSpPr/>
          <p:nvPr/>
        </p:nvSpPr>
        <p:spPr>
          <a:xfrm>
            <a:off x="14810845" y="4555062"/>
            <a:ext cx="1296144" cy="1117366"/>
          </a:xfrm>
          <a:prstGeom prst="hexagon">
            <a:avLst/>
          </a:pr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互動紀錄</a:t>
            </a:r>
          </a:p>
        </p:txBody>
      </p:sp>
      <p:sp>
        <p:nvSpPr>
          <p:cNvPr id="28" name="六邊形 27"/>
          <p:cNvSpPr/>
          <p:nvPr/>
        </p:nvSpPr>
        <p:spPr>
          <a:xfrm>
            <a:off x="14767234" y="5741952"/>
            <a:ext cx="1296144" cy="1117366"/>
          </a:xfrm>
          <a:prstGeom prst="hexagon">
            <a:avLst/>
          </a:pr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理財變數</a:t>
            </a:r>
            <a:endParaRPr kumimoji="0" lang="en-US" altLang="zh-TW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11448535" y="5168372"/>
            <a:ext cx="1107997" cy="5784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TW" altLang="en-US" sz="24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用卡</a:t>
            </a:r>
            <a:endParaRPr lang="en-US" altLang="zh-TW" sz="2400" b="1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0" name="六邊形 29"/>
          <p:cNvSpPr/>
          <p:nvPr/>
        </p:nvSpPr>
        <p:spPr>
          <a:xfrm>
            <a:off x="10154039" y="3335573"/>
            <a:ext cx="1296144" cy="1117366"/>
          </a:xfrm>
          <a:prstGeom prst="hexagon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模型分數</a:t>
            </a:r>
          </a:p>
        </p:txBody>
      </p:sp>
      <p:sp>
        <p:nvSpPr>
          <p:cNvPr id="31" name="六邊形 30"/>
          <p:cNvSpPr/>
          <p:nvPr/>
        </p:nvSpPr>
        <p:spPr>
          <a:xfrm>
            <a:off x="11310850" y="3944237"/>
            <a:ext cx="1296144" cy="1117366"/>
          </a:xfrm>
          <a:prstGeom prst="hexagon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房貸相關</a:t>
            </a:r>
          </a:p>
        </p:txBody>
      </p:sp>
      <p:sp>
        <p:nvSpPr>
          <p:cNvPr id="32" name="六邊形 31"/>
          <p:cNvSpPr/>
          <p:nvPr/>
        </p:nvSpPr>
        <p:spPr>
          <a:xfrm>
            <a:off x="12456754" y="3324225"/>
            <a:ext cx="1296144" cy="1117366"/>
          </a:xfrm>
          <a:prstGeom prst="hexagon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關聯變數</a:t>
            </a:r>
          </a:p>
        </p:txBody>
      </p:sp>
      <p:sp>
        <p:nvSpPr>
          <p:cNvPr id="33" name="六邊形 32"/>
          <p:cNvSpPr/>
          <p:nvPr/>
        </p:nvSpPr>
        <p:spPr>
          <a:xfrm>
            <a:off x="11310850" y="2746321"/>
            <a:ext cx="1296144" cy="1117366"/>
          </a:xfrm>
          <a:prstGeom prst="hexagon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趨勢預測</a:t>
            </a:r>
          </a:p>
        </p:txBody>
      </p:sp>
      <p:sp>
        <p:nvSpPr>
          <p:cNvPr id="34" name="六邊形 33"/>
          <p:cNvSpPr/>
          <p:nvPr/>
        </p:nvSpPr>
        <p:spPr>
          <a:xfrm>
            <a:off x="13615106" y="3906990"/>
            <a:ext cx="1296144" cy="1117366"/>
          </a:xfrm>
          <a:prstGeom prst="hexagon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法個匯流</a:t>
            </a:r>
          </a:p>
        </p:txBody>
      </p:sp>
      <p:sp>
        <p:nvSpPr>
          <p:cNvPr id="35" name="六邊形 34"/>
          <p:cNvSpPr/>
          <p:nvPr/>
        </p:nvSpPr>
        <p:spPr>
          <a:xfrm>
            <a:off x="13615106" y="2709074"/>
            <a:ext cx="1296144" cy="1117366"/>
          </a:xfrm>
          <a:prstGeom prst="hexagon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家戶數據</a:t>
            </a:r>
          </a:p>
        </p:txBody>
      </p:sp>
      <p:sp>
        <p:nvSpPr>
          <p:cNvPr id="36" name="六邊形 35"/>
          <p:cNvSpPr/>
          <p:nvPr/>
        </p:nvSpPr>
        <p:spPr>
          <a:xfrm>
            <a:off x="14767234" y="3357754"/>
            <a:ext cx="1296144" cy="1117366"/>
          </a:xfrm>
          <a:prstGeom prst="hexagon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外匯數據</a:t>
            </a:r>
          </a:p>
        </p:txBody>
      </p:sp>
      <p:sp>
        <p:nvSpPr>
          <p:cNvPr id="37" name="六邊形 36"/>
          <p:cNvSpPr/>
          <p:nvPr/>
        </p:nvSpPr>
        <p:spPr>
          <a:xfrm>
            <a:off x="10154039" y="917416"/>
            <a:ext cx="1296144" cy="1117366"/>
          </a:xfrm>
          <a:prstGeom prst="hexagon">
            <a:avLst/>
          </a:prstGeom>
          <a:solidFill>
            <a:srgbClr val="2D97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EDM</a:t>
            </a:r>
            <a:r>
              <a:rPr kumimoji="0" lang="zh-TW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文字探勘</a:t>
            </a:r>
          </a:p>
        </p:txBody>
      </p:sp>
      <p:sp>
        <p:nvSpPr>
          <p:cNvPr id="38" name="六邊形 37"/>
          <p:cNvSpPr/>
          <p:nvPr/>
        </p:nvSpPr>
        <p:spPr>
          <a:xfrm>
            <a:off x="12476298" y="917416"/>
            <a:ext cx="1296144" cy="1117366"/>
          </a:xfrm>
          <a:prstGeom prst="hexagon">
            <a:avLst/>
          </a:prstGeom>
          <a:solidFill>
            <a:srgbClr val="2D97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保險變數</a:t>
            </a:r>
          </a:p>
        </p:txBody>
      </p:sp>
      <p:sp>
        <p:nvSpPr>
          <p:cNvPr id="39" name="六邊形 38"/>
          <p:cNvSpPr/>
          <p:nvPr/>
        </p:nvSpPr>
        <p:spPr>
          <a:xfrm>
            <a:off x="11310850" y="1528241"/>
            <a:ext cx="1296144" cy="1117366"/>
          </a:xfrm>
          <a:prstGeom prst="hexagon">
            <a:avLst/>
          </a:prstGeom>
          <a:solidFill>
            <a:srgbClr val="2D97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理專註記</a:t>
            </a:r>
          </a:p>
        </p:txBody>
      </p:sp>
      <p:sp>
        <p:nvSpPr>
          <p:cNvPr id="40" name="六邊形 39"/>
          <p:cNvSpPr/>
          <p:nvPr/>
        </p:nvSpPr>
        <p:spPr>
          <a:xfrm>
            <a:off x="13615106" y="1528241"/>
            <a:ext cx="1296144" cy="1117366"/>
          </a:xfrm>
          <a:prstGeom prst="hexagon">
            <a:avLst/>
          </a:prstGeom>
          <a:solidFill>
            <a:srgbClr val="2D97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LINE BC </a:t>
            </a: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1" name="六邊形 40"/>
          <p:cNvSpPr/>
          <p:nvPr/>
        </p:nvSpPr>
        <p:spPr>
          <a:xfrm>
            <a:off x="10154039" y="2104305"/>
            <a:ext cx="1296144" cy="1117366"/>
          </a:xfrm>
          <a:prstGeom prst="hexagon">
            <a:avLst/>
          </a:prstGeom>
          <a:solidFill>
            <a:srgbClr val="2D97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數位軌跡</a:t>
            </a:r>
          </a:p>
        </p:txBody>
      </p:sp>
      <p:sp>
        <p:nvSpPr>
          <p:cNvPr id="42" name="六邊形 41"/>
          <p:cNvSpPr/>
          <p:nvPr/>
        </p:nvSpPr>
        <p:spPr>
          <a:xfrm>
            <a:off x="12476298" y="2104305"/>
            <a:ext cx="1296144" cy="1117366"/>
          </a:xfrm>
          <a:prstGeom prst="hexagon">
            <a:avLst/>
          </a:prstGeom>
          <a:solidFill>
            <a:srgbClr val="2D97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客服</a:t>
            </a:r>
            <a:endParaRPr kumimoji="0" lang="en-US" altLang="zh-TW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變數</a:t>
            </a:r>
          </a:p>
        </p:txBody>
      </p:sp>
      <p:sp>
        <p:nvSpPr>
          <p:cNvPr id="43" name="矩形 42"/>
          <p:cNvSpPr/>
          <p:nvPr/>
        </p:nvSpPr>
        <p:spPr>
          <a:xfrm>
            <a:off x="14810845" y="2673562"/>
            <a:ext cx="12089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/>
            <a:r>
              <a:rPr lang="en-US" altLang="zh-TW" sz="18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UPUN</a:t>
            </a:r>
            <a:endParaRPr lang="zh-TW" altLang="en-US" sz="1800" b="1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4" name="六邊形 103"/>
          <p:cNvSpPr/>
          <p:nvPr/>
        </p:nvSpPr>
        <p:spPr>
          <a:xfrm>
            <a:off x="11310850" y="6355262"/>
            <a:ext cx="1296144" cy="558683"/>
          </a:xfrm>
          <a:custGeom>
            <a:avLst/>
            <a:gdLst/>
            <a:ahLst/>
            <a:cxnLst/>
            <a:rect l="l" t="t" r="r" b="b"/>
            <a:pathLst>
              <a:path w="1296144" h="558683">
                <a:moveTo>
                  <a:pt x="279342" y="0"/>
                </a:moveTo>
                <a:lnTo>
                  <a:pt x="1016803" y="0"/>
                </a:lnTo>
                <a:lnTo>
                  <a:pt x="1296144" y="558683"/>
                </a:lnTo>
                <a:lnTo>
                  <a:pt x="0" y="558683"/>
                </a:lnTo>
                <a:close/>
              </a:path>
            </a:pathLst>
          </a:cu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5" name="六邊形 104"/>
          <p:cNvSpPr/>
          <p:nvPr/>
        </p:nvSpPr>
        <p:spPr>
          <a:xfrm>
            <a:off x="11310850" y="882654"/>
            <a:ext cx="1296144" cy="558683"/>
          </a:xfrm>
          <a:custGeom>
            <a:avLst/>
            <a:gdLst/>
            <a:ahLst/>
            <a:cxnLst/>
            <a:rect l="l" t="t" r="r" b="b"/>
            <a:pathLst>
              <a:path w="1296144" h="558683">
                <a:moveTo>
                  <a:pt x="0" y="0"/>
                </a:moveTo>
                <a:lnTo>
                  <a:pt x="1296144" y="0"/>
                </a:lnTo>
                <a:lnTo>
                  <a:pt x="1016803" y="558683"/>
                </a:lnTo>
                <a:lnTo>
                  <a:pt x="279342" y="558683"/>
                </a:lnTo>
                <a:close/>
              </a:path>
            </a:pathLst>
          </a:custGeom>
          <a:solidFill>
            <a:srgbClr val="7E848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6" name="六邊形 103"/>
          <p:cNvSpPr/>
          <p:nvPr/>
        </p:nvSpPr>
        <p:spPr>
          <a:xfrm>
            <a:off x="13615106" y="6355261"/>
            <a:ext cx="1296144" cy="558683"/>
          </a:xfrm>
          <a:custGeom>
            <a:avLst/>
            <a:gdLst/>
            <a:ahLst/>
            <a:cxnLst/>
            <a:rect l="l" t="t" r="r" b="b"/>
            <a:pathLst>
              <a:path w="1296144" h="558683">
                <a:moveTo>
                  <a:pt x="279342" y="0"/>
                </a:moveTo>
                <a:lnTo>
                  <a:pt x="1016803" y="0"/>
                </a:lnTo>
                <a:lnTo>
                  <a:pt x="1296144" y="558683"/>
                </a:lnTo>
                <a:lnTo>
                  <a:pt x="0" y="558683"/>
                </a:lnTo>
                <a:close/>
              </a:path>
            </a:pathLst>
          </a:cu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7" name="六邊形 104"/>
          <p:cNvSpPr/>
          <p:nvPr/>
        </p:nvSpPr>
        <p:spPr>
          <a:xfrm>
            <a:off x="13615106" y="882653"/>
            <a:ext cx="1296144" cy="558683"/>
          </a:xfrm>
          <a:custGeom>
            <a:avLst/>
            <a:gdLst/>
            <a:ahLst/>
            <a:cxnLst/>
            <a:rect l="l" t="t" r="r" b="b"/>
            <a:pathLst>
              <a:path w="1296144" h="558683">
                <a:moveTo>
                  <a:pt x="0" y="0"/>
                </a:moveTo>
                <a:lnTo>
                  <a:pt x="1296144" y="0"/>
                </a:lnTo>
                <a:lnTo>
                  <a:pt x="1016803" y="558683"/>
                </a:lnTo>
                <a:lnTo>
                  <a:pt x="279342" y="558683"/>
                </a:lnTo>
                <a:close/>
              </a:path>
            </a:pathLst>
          </a:custGeom>
          <a:solidFill>
            <a:srgbClr val="7E848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8" name="六邊形 47"/>
          <p:cNvSpPr/>
          <p:nvPr/>
        </p:nvSpPr>
        <p:spPr>
          <a:xfrm>
            <a:off x="15919362" y="5165888"/>
            <a:ext cx="1296144" cy="1117366"/>
          </a:xfrm>
          <a:prstGeom prst="hexagon">
            <a:avLst/>
          </a:pr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9" name="六邊形 48"/>
          <p:cNvSpPr/>
          <p:nvPr/>
        </p:nvSpPr>
        <p:spPr>
          <a:xfrm>
            <a:off x="15919362" y="3941752"/>
            <a:ext cx="1296144" cy="1117366"/>
          </a:xfrm>
          <a:prstGeom prst="hexagon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0" name="六邊形 49"/>
          <p:cNvSpPr/>
          <p:nvPr/>
        </p:nvSpPr>
        <p:spPr>
          <a:xfrm>
            <a:off x="15919362" y="2737481"/>
            <a:ext cx="1296144" cy="1117366"/>
          </a:xfrm>
          <a:prstGeom prst="hexagon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1" name="六邊形 50"/>
          <p:cNvSpPr/>
          <p:nvPr/>
        </p:nvSpPr>
        <p:spPr>
          <a:xfrm>
            <a:off x="15919362" y="1513345"/>
            <a:ext cx="1296144" cy="1117366"/>
          </a:xfrm>
          <a:prstGeom prst="hexagon">
            <a:avLst/>
          </a:prstGeom>
          <a:solidFill>
            <a:srgbClr val="2D97A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2" name="六邊形 103"/>
          <p:cNvSpPr/>
          <p:nvPr/>
        </p:nvSpPr>
        <p:spPr>
          <a:xfrm>
            <a:off x="15919362" y="6355262"/>
            <a:ext cx="1296144" cy="558683"/>
          </a:xfrm>
          <a:custGeom>
            <a:avLst/>
            <a:gdLst/>
            <a:ahLst/>
            <a:cxnLst/>
            <a:rect l="l" t="t" r="r" b="b"/>
            <a:pathLst>
              <a:path w="1296144" h="558683">
                <a:moveTo>
                  <a:pt x="279342" y="0"/>
                </a:moveTo>
                <a:lnTo>
                  <a:pt x="1016803" y="0"/>
                </a:lnTo>
                <a:lnTo>
                  <a:pt x="1296144" y="558683"/>
                </a:lnTo>
                <a:lnTo>
                  <a:pt x="0" y="558683"/>
                </a:lnTo>
                <a:close/>
              </a:path>
            </a:pathLst>
          </a:custGeom>
          <a:solidFill>
            <a:srgbClr val="3B7B7B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3" name="六邊形 104"/>
          <p:cNvSpPr/>
          <p:nvPr/>
        </p:nvSpPr>
        <p:spPr>
          <a:xfrm>
            <a:off x="15919362" y="882654"/>
            <a:ext cx="1296144" cy="558683"/>
          </a:xfrm>
          <a:custGeom>
            <a:avLst/>
            <a:gdLst/>
            <a:ahLst/>
            <a:cxnLst/>
            <a:rect l="l" t="t" r="r" b="b"/>
            <a:pathLst>
              <a:path w="1296144" h="558683">
                <a:moveTo>
                  <a:pt x="0" y="0"/>
                </a:moveTo>
                <a:lnTo>
                  <a:pt x="1296144" y="0"/>
                </a:lnTo>
                <a:lnTo>
                  <a:pt x="1016803" y="558683"/>
                </a:lnTo>
                <a:lnTo>
                  <a:pt x="279342" y="558683"/>
                </a:lnTo>
                <a:close/>
              </a:path>
            </a:pathLst>
          </a:custGeom>
          <a:solidFill>
            <a:srgbClr val="7E848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54" name="群組 53"/>
          <p:cNvGrpSpPr/>
          <p:nvPr/>
        </p:nvGrpSpPr>
        <p:grpSpPr>
          <a:xfrm>
            <a:off x="408440" y="4140176"/>
            <a:ext cx="720000" cy="720000"/>
            <a:chOff x="1010700" y="4085131"/>
            <a:chExt cx="720000" cy="720000"/>
          </a:xfrm>
        </p:grpSpPr>
        <p:sp>
          <p:nvSpPr>
            <p:cNvPr id="55" name="橢圓 54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56" name="橢圓 55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基本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屬性</a:t>
              </a:r>
              <a:endParaRPr lang="zh-TW" altLang="en-US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57" name="群組 56"/>
          <p:cNvGrpSpPr/>
          <p:nvPr/>
        </p:nvGrpSpPr>
        <p:grpSpPr>
          <a:xfrm>
            <a:off x="2124912" y="4134051"/>
            <a:ext cx="720000" cy="720000"/>
            <a:chOff x="1010700" y="4085131"/>
            <a:chExt cx="720000" cy="720000"/>
          </a:xfrm>
        </p:grpSpPr>
        <p:sp>
          <p:nvSpPr>
            <p:cNvPr id="58" name="橢圓 57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59" name="橢圓 58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信用卡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消費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60" name="群組 59"/>
          <p:cNvGrpSpPr/>
          <p:nvPr/>
        </p:nvGrpSpPr>
        <p:grpSpPr>
          <a:xfrm>
            <a:off x="1255571" y="4992638"/>
            <a:ext cx="720000" cy="720000"/>
            <a:chOff x="1010700" y="4085131"/>
            <a:chExt cx="720000" cy="720000"/>
          </a:xfrm>
        </p:grpSpPr>
        <p:sp>
          <p:nvSpPr>
            <p:cNvPr id="61" name="橢圓 60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2" name="橢圓 61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金</a:t>
              </a: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流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往來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63" name="群組 62"/>
          <p:cNvGrpSpPr/>
          <p:nvPr/>
        </p:nvGrpSpPr>
        <p:grpSpPr>
          <a:xfrm>
            <a:off x="2124912" y="4992638"/>
            <a:ext cx="720000" cy="720000"/>
            <a:chOff x="1010700" y="4085131"/>
            <a:chExt cx="720000" cy="720000"/>
          </a:xfrm>
        </p:grpSpPr>
        <p:sp>
          <p:nvSpPr>
            <p:cNvPr id="64" name="橢圓 63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5" name="橢圓 64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JCIC</a:t>
              </a:r>
            </a:p>
          </p:txBody>
        </p:sp>
      </p:grpSp>
      <p:grpSp>
        <p:nvGrpSpPr>
          <p:cNvPr id="66" name="群組 65"/>
          <p:cNvGrpSpPr/>
          <p:nvPr/>
        </p:nvGrpSpPr>
        <p:grpSpPr>
          <a:xfrm>
            <a:off x="1219571" y="3309678"/>
            <a:ext cx="720000" cy="720000"/>
            <a:chOff x="1010700" y="4085131"/>
            <a:chExt cx="720000" cy="720000"/>
          </a:xfrm>
        </p:grpSpPr>
        <p:sp>
          <p:nvSpPr>
            <p:cNvPr id="67" name="橢圓 66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8" name="橢圓 67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風險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變數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69" name="群組 68"/>
          <p:cNvGrpSpPr/>
          <p:nvPr/>
        </p:nvGrpSpPr>
        <p:grpSpPr>
          <a:xfrm>
            <a:off x="1248588" y="4140176"/>
            <a:ext cx="720000" cy="720000"/>
            <a:chOff x="1010700" y="4085131"/>
            <a:chExt cx="720000" cy="720000"/>
          </a:xfrm>
        </p:grpSpPr>
        <p:sp>
          <p:nvSpPr>
            <p:cNvPr id="70" name="橢圓 69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71" name="橢圓 70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互動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紀錄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72" name="群組 71"/>
          <p:cNvGrpSpPr/>
          <p:nvPr/>
        </p:nvGrpSpPr>
        <p:grpSpPr>
          <a:xfrm>
            <a:off x="2106912" y="3310229"/>
            <a:ext cx="720000" cy="720000"/>
            <a:chOff x="1010700" y="4085131"/>
            <a:chExt cx="720000" cy="720000"/>
          </a:xfrm>
        </p:grpSpPr>
        <p:sp>
          <p:nvSpPr>
            <p:cNvPr id="73" name="橢圓 72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74" name="橢圓 73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理財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變數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75" name="群組 74"/>
          <p:cNvGrpSpPr/>
          <p:nvPr/>
        </p:nvGrpSpPr>
        <p:grpSpPr>
          <a:xfrm>
            <a:off x="3576590" y="4772494"/>
            <a:ext cx="720000" cy="720000"/>
            <a:chOff x="1010700" y="4085131"/>
            <a:chExt cx="720000" cy="720000"/>
          </a:xfrm>
        </p:grpSpPr>
        <p:sp>
          <p:nvSpPr>
            <p:cNvPr id="76" name="橢圓 75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77" name="橢圓 76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模型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分數</a:t>
              </a:r>
              <a:endParaRPr lang="zh-TW" altLang="en-US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78" name="群組 77"/>
          <p:cNvGrpSpPr/>
          <p:nvPr/>
        </p:nvGrpSpPr>
        <p:grpSpPr>
          <a:xfrm>
            <a:off x="3576590" y="3908099"/>
            <a:ext cx="720000" cy="720000"/>
            <a:chOff x="1010700" y="4085131"/>
            <a:chExt cx="720000" cy="720000"/>
          </a:xfrm>
        </p:grpSpPr>
        <p:sp>
          <p:nvSpPr>
            <p:cNvPr id="79" name="橢圓 78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80" name="橢圓 79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趨勢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預測</a:t>
              </a:r>
              <a:endParaRPr lang="zh-TW" altLang="en-US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81" name="群組 80"/>
          <p:cNvGrpSpPr/>
          <p:nvPr/>
        </p:nvGrpSpPr>
        <p:grpSpPr>
          <a:xfrm>
            <a:off x="5293062" y="3901974"/>
            <a:ext cx="720000" cy="720000"/>
            <a:chOff x="1010700" y="4085131"/>
            <a:chExt cx="720000" cy="720000"/>
          </a:xfrm>
        </p:grpSpPr>
        <p:sp>
          <p:nvSpPr>
            <p:cNvPr id="82" name="橢圓 81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83" name="橢圓 82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法個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匯流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84" name="群組 83"/>
          <p:cNvGrpSpPr/>
          <p:nvPr/>
        </p:nvGrpSpPr>
        <p:grpSpPr>
          <a:xfrm>
            <a:off x="4423721" y="4760561"/>
            <a:ext cx="720000" cy="720000"/>
            <a:chOff x="1010700" y="4085131"/>
            <a:chExt cx="720000" cy="720000"/>
          </a:xfrm>
        </p:grpSpPr>
        <p:sp>
          <p:nvSpPr>
            <p:cNvPr id="85" name="橢圓 84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86" name="橢圓 85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房貸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相關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0" name="群組 89"/>
          <p:cNvGrpSpPr/>
          <p:nvPr/>
        </p:nvGrpSpPr>
        <p:grpSpPr>
          <a:xfrm>
            <a:off x="4387721" y="3077601"/>
            <a:ext cx="720000" cy="720000"/>
            <a:chOff x="1010700" y="4085131"/>
            <a:chExt cx="720000" cy="720000"/>
          </a:xfrm>
        </p:grpSpPr>
        <p:sp>
          <p:nvSpPr>
            <p:cNvPr id="91" name="橢圓 90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92" name="橢圓 91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家戶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變數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3" name="群組 92"/>
          <p:cNvGrpSpPr/>
          <p:nvPr/>
        </p:nvGrpSpPr>
        <p:grpSpPr>
          <a:xfrm>
            <a:off x="4416738" y="3908099"/>
            <a:ext cx="720000" cy="720000"/>
            <a:chOff x="1010700" y="4085131"/>
            <a:chExt cx="720000" cy="720000"/>
          </a:xfrm>
        </p:grpSpPr>
        <p:sp>
          <p:nvSpPr>
            <p:cNvPr id="94" name="橢圓 93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95" name="橢圓 94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關聯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變數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6" name="群組 95"/>
          <p:cNvGrpSpPr/>
          <p:nvPr/>
        </p:nvGrpSpPr>
        <p:grpSpPr>
          <a:xfrm>
            <a:off x="5275062" y="3078152"/>
            <a:ext cx="720000" cy="720000"/>
            <a:chOff x="1010700" y="4085131"/>
            <a:chExt cx="720000" cy="720000"/>
          </a:xfrm>
        </p:grpSpPr>
        <p:sp>
          <p:nvSpPr>
            <p:cNvPr id="97" name="橢圓 96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98" name="橢圓 97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外匯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數據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99" name="群組 98"/>
          <p:cNvGrpSpPr/>
          <p:nvPr/>
        </p:nvGrpSpPr>
        <p:grpSpPr>
          <a:xfrm>
            <a:off x="6803682" y="3704579"/>
            <a:ext cx="720000" cy="720000"/>
            <a:chOff x="1010700" y="4085131"/>
            <a:chExt cx="720000" cy="720000"/>
          </a:xfrm>
        </p:grpSpPr>
        <p:sp>
          <p:nvSpPr>
            <p:cNvPr id="100" name="橢圓 99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101" name="橢圓 100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數位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軌跡</a:t>
              </a:r>
              <a:endParaRPr lang="zh-TW" altLang="en-US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02" name="群組 101"/>
          <p:cNvGrpSpPr/>
          <p:nvPr/>
        </p:nvGrpSpPr>
        <p:grpSpPr>
          <a:xfrm>
            <a:off x="6803682" y="2840184"/>
            <a:ext cx="720000" cy="720000"/>
            <a:chOff x="1010700" y="4085131"/>
            <a:chExt cx="720000" cy="720000"/>
          </a:xfrm>
        </p:grpSpPr>
        <p:sp>
          <p:nvSpPr>
            <p:cNvPr id="103" name="橢圓 102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104" name="橢圓 103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DM</a:t>
              </a: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文字</a:t>
              </a:r>
            </a:p>
          </p:txBody>
        </p:sp>
      </p:grpSp>
      <p:grpSp>
        <p:nvGrpSpPr>
          <p:cNvPr id="105" name="群組 104"/>
          <p:cNvGrpSpPr/>
          <p:nvPr/>
        </p:nvGrpSpPr>
        <p:grpSpPr>
          <a:xfrm>
            <a:off x="8520154" y="2834059"/>
            <a:ext cx="720000" cy="720000"/>
            <a:chOff x="1010700" y="4085131"/>
            <a:chExt cx="720000" cy="720000"/>
          </a:xfrm>
        </p:grpSpPr>
        <p:sp>
          <p:nvSpPr>
            <p:cNvPr id="106" name="橢圓 105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107" name="橢圓 106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ATM</a:t>
              </a: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200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coupon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08" name="群組 107"/>
          <p:cNvGrpSpPr/>
          <p:nvPr/>
        </p:nvGrpSpPr>
        <p:grpSpPr>
          <a:xfrm>
            <a:off x="7650813" y="3692646"/>
            <a:ext cx="720000" cy="720000"/>
            <a:chOff x="1010700" y="4085131"/>
            <a:chExt cx="720000" cy="720000"/>
          </a:xfrm>
        </p:grpSpPr>
        <p:sp>
          <p:nvSpPr>
            <p:cNvPr id="109" name="橢圓 108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110" name="橢圓 109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客</a:t>
              </a: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服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變數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11" name="群組 110"/>
          <p:cNvGrpSpPr/>
          <p:nvPr/>
        </p:nvGrpSpPr>
        <p:grpSpPr>
          <a:xfrm>
            <a:off x="8520154" y="3692646"/>
            <a:ext cx="720000" cy="720000"/>
            <a:chOff x="1010700" y="4085131"/>
            <a:chExt cx="720000" cy="720000"/>
          </a:xfrm>
        </p:grpSpPr>
        <p:sp>
          <p:nvSpPr>
            <p:cNvPr id="112" name="橢圓 111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113" name="橢圓 112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b="1" kern="0" dirty="0" smtClean="0">
                  <a:solidFill>
                    <a:schemeClr val="bg1">
                      <a:lumMod val="6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STT</a:t>
              </a: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000" b="1" kern="0" dirty="0" smtClean="0">
                  <a:solidFill>
                    <a:schemeClr val="bg1">
                      <a:lumMod val="6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( </a:t>
              </a:r>
              <a:r>
                <a:rPr lang="zh-TW" altLang="en-US" sz="1000" b="1" kern="0" dirty="0" smtClean="0">
                  <a:solidFill>
                    <a:schemeClr val="bg1">
                      <a:lumMod val="6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待開發</a:t>
              </a:r>
              <a:r>
                <a:rPr lang="en-US" altLang="zh-TW" sz="1000" b="1" kern="0" dirty="0" smtClean="0">
                  <a:solidFill>
                    <a:schemeClr val="bg1">
                      <a:lumMod val="6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)</a:t>
              </a:r>
              <a:endParaRPr lang="en-US" altLang="zh-TW" b="1" kern="0" dirty="0" smtClean="0">
                <a:solidFill>
                  <a:schemeClr val="bg1">
                    <a:lumMod val="6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14" name="群組 113"/>
          <p:cNvGrpSpPr/>
          <p:nvPr/>
        </p:nvGrpSpPr>
        <p:grpSpPr>
          <a:xfrm>
            <a:off x="7614813" y="2009686"/>
            <a:ext cx="720000" cy="720000"/>
            <a:chOff x="1010700" y="4085131"/>
            <a:chExt cx="720000" cy="720000"/>
          </a:xfrm>
        </p:grpSpPr>
        <p:sp>
          <p:nvSpPr>
            <p:cNvPr id="115" name="橢圓 114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116" name="橢圓 115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理專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註記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17" name="群組 116"/>
          <p:cNvGrpSpPr/>
          <p:nvPr/>
        </p:nvGrpSpPr>
        <p:grpSpPr>
          <a:xfrm>
            <a:off x="7643830" y="2840184"/>
            <a:ext cx="720000" cy="720000"/>
            <a:chOff x="1010700" y="4085131"/>
            <a:chExt cx="720000" cy="720000"/>
          </a:xfrm>
        </p:grpSpPr>
        <p:sp>
          <p:nvSpPr>
            <p:cNvPr id="118" name="橢圓 117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119" name="橢圓 118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保險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變數</a:t>
              </a:r>
              <a:endParaRPr lang="en-US" altLang="zh-TW" b="1" kern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120" name="群組 119"/>
          <p:cNvGrpSpPr/>
          <p:nvPr/>
        </p:nvGrpSpPr>
        <p:grpSpPr>
          <a:xfrm>
            <a:off x="8502154" y="2010237"/>
            <a:ext cx="720000" cy="720000"/>
            <a:chOff x="1010700" y="4085131"/>
            <a:chExt cx="720000" cy="720000"/>
          </a:xfrm>
        </p:grpSpPr>
        <p:sp>
          <p:nvSpPr>
            <p:cNvPr id="121" name="橢圓 120"/>
            <p:cNvSpPr/>
            <p:nvPr/>
          </p:nvSpPr>
          <p:spPr bwMode="auto">
            <a:xfrm>
              <a:off x="1010700" y="4085131"/>
              <a:ext cx="720000" cy="720000"/>
            </a:xfrm>
            <a:prstGeom prst="ellipse">
              <a:avLst/>
            </a:prstGeom>
            <a:solidFill>
              <a:srgbClr val="009999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122" name="橢圓 121"/>
            <p:cNvSpPr/>
            <p:nvPr/>
          </p:nvSpPr>
          <p:spPr bwMode="auto">
            <a:xfrm>
              <a:off x="1028700" y="4103131"/>
              <a:ext cx="684000" cy="684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LINE</a:t>
              </a:r>
            </a:p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b="1" kern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BC</a:t>
              </a:r>
            </a:p>
          </p:txBody>
        </p:sp>
      </p:grpSp>
      <p:cxnSp>
        <p:nvCxnSpPr>
          <p:cNvPr id="126" name="弧形接點 125"/>
          <p:cNvCxnSpPr/>
          <p:nvPr/>
        </p:nvCxnSpPr>
        <p:spPr bwMode="auto">
          <a:xfrm flipV="1">
            <a:off x="-5190" y="5838825"/>
            <a:ext cx="9911190" cy="741427"/>
          </a:xfrm>
          <a:prstGeom prst="curvedConnector3">
            <a:avLst>
              <a:gd name="adj1" fmla="val 50000"/>
            </a:avLst>
          </a:prstGeom>
          <a:noFill/>
          <a:ln w="25400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6" name="矩形 15"/>
          <p:cNvSpPr/>
          <p:nvPr/>
        </p:nvSpPr>
        <p:spPr>
          <a:xfrm>
            <a:off x="6602540" y="4475120"/>
            <a:ext cx="29670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增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 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大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類數據變數，開發數位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軌跡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通路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互動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/ 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小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資、月光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族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/ 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反向變數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特定金流交易</a:t>
            </a:r>
            <a:r>
              <a:rPr lang="en-US" altLang="zh-TW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等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標籤，全方面描繪客戶的輪廓樣貌。</a:t>
            </a: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5" name="矩形 144"/>
          <p:cNvSpPr/>
          <p:nvPr/>
        </p:nvSpPr>
        <p:spPr>
          <a:xfrm>
            <a:off x="3264187" y="2119564"/>
            <a:ext cx="29670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增關聯變數、家戶數據等，並增加各變數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趨勢預測，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藉此捕捉客戶未來可能的行動方向，藉此提升模型準確性。</a:t>
            </a: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6" name="矩形 145"/>
          <p:cNvSpPr/>
          <p:nvPr/>
        </p:nvSpPr>
        <p:spPr>
          <a:xfrm>
            <a:off x="96037" y="2119564"/>
            <a:ext cx="29670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以風險行為特徵變數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出發，除了行內客戶的基本屬性與風險變數外，更增加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JCIC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等行外變數，以增加建模變數的多樣性。</a:t>
            </a: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4" name="投影片編號版面配置區 3"/>
          <p:cNvSpPr txBox="1">
            <a:spLocks/>
          </p:cNvSpPr>
          <p:nvPr/>
        </p:nvSpPr>
        <p:spPr>
          <a:xfrm>
            <a:off x="9345488" y="6381330"/>
            <a:ext cx="488504" cy="36512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DA0BB7-265A-403C-9275-D587AB510EDC}" type="slidenum">
              <a:rPr lang="zh-TW" altLang="en-US" smtClean="0">
                <a:solidFill>
                  <a:schemeClr val="bg1"/>
                </a:solidFill>
              </a:rPr>
              <a:pPr/>
              <a:t>3</a:t>
            </a:fld>
            <a:endParaRPr lang="zh-TW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484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 bwMode="auto">
          <a:xfrm>
            <a:off x="-1729" y="781050"/>
            <a:ext cx="9906000" cy="6076950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573201"/>
              </p:ext>
            </p:extLst>
          </p:nvPr>
        </p:nvGraphicFramePr>
        <p:xfrm>
          <a:off x="204523" y="935204"/>
          <a:ext cx="9416554" cy="251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5554"/>
                <a:gridCol w="1003000"/>
                <a:gridCol w="1003000"/>
                <a:gridCol w="1003000"/>
                <a:gridCol w="1003000"/>
                <a:gridCol w="1003000"/>
                <a:gridCol w="1003000"/>
                <a:gridCol w="1003000"/>
              </a:tblGrid>
              <a:tr h="370840">
                <a:tc gridSpan="8">
                  <a:txBody>
                    <a:bodyPr/>
                    <a:lstStyle/>
                    <a:p>
                      <a:pPr algn="ctr"/>
                      <a:r>
                        <a:rPr lang="en-US" altLang="zh-TW" sz="1600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19/09/01</a:t>
                      </a:r>
                      <a:r>
                        <a:rPr lang="zh-TW" altLang="en-US" sz="1600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600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~</a:t>
                      </a:r>
                      <a:r>
                        <a:rPr lang="zh-TW" altLang="en-US" sz="1600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600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19/09/30</a:t>
                      </a:r>
                      <a:r>
                        <a:rPr lang="zh-TW" altLang="en-US" sz="1600" dirty="0" smtClean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網銀客戶信貸申貸旅程</a:t>
                      </a:r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auto"/>
                      <a:endParaRPr lang="zh-TW" altLang="en-US" sz="1600" b="1" dirty="0">
                        <a:solidFill>
                          <a:prstClr val="white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600" b="1" dirty="0" smtClean="0">
                        <a:solidFill>
                          <a:prstClr val="white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97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簡易</a:t>
                      </a:r>
                      <a:endParaRPr lang="en-US" altLang="zh-TW" sz="16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 fontAlgn="auto"/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核身</a:t>
                      </a:r>
                      <a:endParaRPr lang="zh-TW" altLang="en-US" sz="1600" b="1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97A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確認</a:t>
                      </a:r>
                      <a:endParaRPr lang="en-US" altLang="zh-TW" sz="16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條款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97A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申貸</a:t>
                      </a:r>
                      <a:endParaRPr lang="en-US" altLang="zh-TW" sz="16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內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97A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基本</a:t>
                      </a:r>
                      <a:endParaRPr lang="en-US" altLang="zh-TW" sz="16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資料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97A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結果</a:t>
                      </a:r>
                      <a:endParaRPr lang="en-US" altLang="zh-TW" sz="16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確認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97A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文件</a:t>
                      </a:r>
                      <a:endParaRPr lang="en-US" altLang="zh-TW" sz="16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上傳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97A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確認</a:t>
                      </a:r>
                      <a:endParaRPr lang="en-US" altLang="zh-TW" sz="16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申貸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97A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總人數</a:t>
                      </a:r>
                      <a:endParaRPr lang="zh-TW" altLang="en-US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1,388</a:t>
                      </a:r>
                      <a:endParaRPr lang="zh-TW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1,243</a:t>
                      </a:r>
                      <a:endParaRPr lang="zh-TW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562</a:t>
                      </a:r>
                      <a:endParaRPr lang="zh-TW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404</a:t>
                      </a:r>
                      <a:endParaRPr lang="zh-TW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326</a:t>
                      </a:r>
                      <a:endParaRPr lang="zh-TW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321</a:t>
                      </a:r>
                      <a:endParaRPr lang="zh-TW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240</a:t>
                      </a:r>
                      <a:endParaRPr lang="zh-TW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未向下瀏覽的人數 </a:t>
                      </a:r>
                      <a:r>
                        <a:rPr lang="en-US" altLang="zh-TW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(</a:t>
                      </a: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A</a:t>
                      </a: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</a:rPr>
                        <a:t>)</a:t>
                      </a:r>
                      <a:endParaRPr lang="zh-TW" altLang="en-US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145</a:t>
                      </a:r>
                      <a:endParaRPr lang="zh-TW" altLang="en-US" sz="16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681</a:t>
                      </a:r>
                      <a:endParaRPr lang="zh-TW" altLang="en-US" sz="16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15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78</a:t>
                      </a:r>
                      <a:endParaRPr lang="zh-TW" altLang="en-US" sz="16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5</a:t>
                      </a:r>
                      <a:endParaRPr lang="zh-TW" altLang="en-US" sz="16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81</a:t>
                      </a:r>
                      <a:endParaRPr lang="zh-TW" altLang="en-US" sz="16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</a:tr>
              <a:tr h="295650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未向下瀏覽 </a:t>
                      </a:r>
                      <a:endParaRPr lang="en-US" altLang="zh-TW" sz="12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微軟正黑體" panose="020B0604030504040204" pitchFamily="34" charset="-120"/>
                        <a:cs typeface="+mn-cs"/>
                      </a:endParaRPr>
                    </a:p>
                    <a:p>
                      <a:pPr algn="ctr"/>
                      <a:r>
                        <a:rPr lang="en-US" altLang="zh-TW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&amp;</a:t>
                      </a:r>
                      <a:r>
                        <a:rPr lang="zh-TW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 有信貸需求的人數 </a:t>
                      </a:r>
                      <a:r>
                        <a:rPr lang="en-US" altLang="zh-TW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( B 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20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2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6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未向下瀏覽信貸需求率</a:t>
                      </a:r>
                      <a:r>
                        <a:rPr lang="zh-TW" altLang="en-US" sz="1200" b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 </a:t>
                      </a:r>
                      <a:r>
                        <a:rPr lang="en-US" altLang="zh-TW" sz="1200" b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(</a:t>
                      </a:r>
                      <a:r>
                        <a:rPr lang="zh-TW" altLang="en-US" sz="1200" b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 </a:t>
                      </a:r>
                      <a:r>
                        <a:rPr lang="en-US" altLang="zh-TW" sz="1200" b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B / A</a:t>
                      </a:r>
                      <a:r>
                        <a:rPr lang="zh-TW" altLang="en-US" sz="1200" b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 </a:t>
                      </a:r>
                      <a:r>
                        <a:rPr lang="en-US" altLang="zh-TW" sz="1200" b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  <a:cs typeface="+mn-cs"/>
                        </a:rPr>
                        <a:t>)</a:t>
                      </a:r>
                      <a:endParaRPr lang="zh-TW" altLang="en-US" sz="12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31.0%</a:t>
                      </a:r>
                      <a:endParaRPr lang="zh-TW" altLang="en-US" sz="16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30.4%</a:t>
                      </a:r>
                      <a:endParaRPr lang="zh-TW" altLang="en-US" sz="16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rgbClr val="C00000"/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38.0%</a:t>
                      </a:r>
                      <a:endParaRPr lang="zh-TW" altLang="en-US" sz="1600" b="1" kern="1200" dirty="0">
                        <a:solidFill>
                          <a:srgbClr val="C00000"/>
                        </a:solidFill>
                        <a:latin typeface="+mj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rgbClr val="C00000"/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39.7%</a:t>
                      </a:r>
                      <a:endParaRPr lang="zh-TW" altLang="en-US" sz="1600" b="1" kern="1200" dirty="0">
                        <a:solidFill>
                          <a:srgbClr val="C00000"/>
                        </a:solidFill>
                        <a:latin typeface="+mj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rgbClr val="C00000"/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60.0%</a:t>
                      </a:r>
                      <a:endParaRPr lang="zh-TW" altLang="en-US" sz="1600" b="1" kern="1200" dirty="0">
                        <a:solidFill>
                          <a:srgbClr val="C00000"/>
                        </a:solidFill>
                        <a:latin typeface="+mj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600" b="1" kern="1200" dirty="0" smtClean="0">
                          <a:solidFill>
                            <a:srgbClr val="C00000"/>
                          </a:solidFill>
                          <a:latin typeface="+mj-lt"/>
                          <a:ea typeface="微軟正黑體" panose="020B0604030504040204" pitchFamily="34" charset="-120"/>
                          <a:cs typeface="+mn-cs"/>
                        </a:rPr>
                        <a:t>34.6%</a:t>
                      </a:r>
                      <a:endParaRPr lang="zh-TW" altLang="en-US" sz="1600" b="1" kern="1200" dirty="0">
                        <a:solidFill>
                          <a:srgbClr val="C00000"/>
                        </a:solidFill>
                        <a:latin typeface="+mj-lt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-</a:t>
                      </a:r>
                      <a:endParaRPr lang="zh-TW" altLang="en-US" sz="16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949" y="-85028"/>
            <a:ext cx="2143125" cy="214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群組 14"/>
          <p:cNvGrpSpPr/>
          <p:nvPr/>
        </p:nvGrpSpPr>
        <p:grpSpPr>
          <a:xfrm>
            <a:off x="204524" y="3508643"/>
            <a:ext cx="9416550" cy="3231792"/>
            <a:chOff x="1" y="548680"/>
            <a:chExt cx="9906000" cy="4590452"/>
          </a:xfrm>
        </p:grpSpPr>
        <p:pic>
          <p:nvPicPr>
            <p:cNvPr id="16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548680"/>
              <a:ext cx="9906000" cy="4590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圓角矩形 16"/>
            <p:cNvSpPr/>
            <p:nvPr/>
          </p:nvSpPr>
          <p:spPr>
            <a:xfrm>
              <a:off x="4016896" y="620688"/>
              <a:ext cx="2121466" cy="36004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/>
              <a:endParaRPr lang="zh-TW" alt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2" name="向右箭號 11"/>
          <p:cNvSpPr/>
          <p:nvPr/>
        </p:nvSpPr>
        <p:spPr bwMode="auto">
          <a:xfrm>
            <a:off x="-123826" y="1209673"/>
            <a:ext cx="1714501" cy="756000"/>
          </a:xfrm>
          <a:prstGeom prst="rightArrow">
            <a:avLst>
              <a:gd name="adj1" fmla="val 79214"/>
              <a:gd name="adj2" fmla="val 37640"/>
            </a:avLst>
          </a:prstGeom>
          <a:solidFill>
            <a:srgbClr val="006666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kumimoji="0" lang="zh-TW" altLang="en-US" sz="2800" b="1" i="0" u="none" strike="noStrike" cap="none" normalizeH="0" baseline="0" dirty="0" smtClean="0">
                <a:solidFill>
                  <a:srgbClr val="FFFF00"/>
                </a:solidFill>
                <a:effectLst/>
                <a:latin typeface="+mn-lt"/>
                <a:cs typeface="+mn-cs"/>
              </a:rPr>
              <a:t>　</a:t>
            </a:r>
            <a:r>
              <a:rPr kumimoji="0" lang="en-US" altLang="zh-TW" sz="2800" b="1" i="0" u="none" strike="noStrike" cap="none" normalizeH="0" baseline="0" dirty="0" smtClean="0">
                <a:solidFill>
                  <a:srgbClr val="FFFF00"/>
                </a:solidFill>
                <a:effectLst/>
                <a:latin typeface="+mn-lt"/>
                <a:cs typeface="+mn-cs"/>
              </a:rPr>
              <a:t>START</a:t>
            </a:r>
            <a:endParaRPr kumimoji="0" lang="zh-TW" altLang="en-US" sz="2800" b="1" i="0" u="none" strike="noStrike" cap="none" normalizeH="0" baseline="0" dirty="0" smtClean="0">
              <a:solidFill>
                <a:srgbClr val="FFFF00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4" name="直角三角形 13"/>
          <p:cNvSpPr/>
          <p:nvPr/>
        </p:nvSpPr>
        <p:spPr bwMode="auto">
          <a:xfrm rot="10800000">
            <a:off x="-1" y="1886647"/>
            <a:ext cx="204523" cy="171450"/>
          </a:xfrm>
          <a:prstGeom prst="rtTriangle">
            <a:avLst/>
          </a:prstGeom>
          <a:solidFill>
            <a:srgbClr val="006666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1" name="橢圓 20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kumimoji="0" lang="en-US" altLang="zh-TW" sz="27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2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9" name="矩形 18"/>
          <p:cNvSpPr/>
          <p:nvPr/>
        </p:nvSpPr>
        <p:spPr bwMode="auto">
          <a:xfrm>
            <a:off x="2628494" y="3714838"/>
            <a:ext cx="909835" cy="288000"/>
          </a:xfrm>
          <a:prstGeom prst="rect">
            <a:avLst/>
          </a:prstGeom>
          <a:solidFill>
            <a:srgbClr val="31A0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b="1" dirty="0" smtClean="0">
                <a:solidFill>
                  <a:srgbClr val="FFFFFF"/>
                </a:solidFill>
                <a:ea typeface="微軟正黑體" panose="020B0604030504040204" pitchFamily="34" charset="-120"/>
              </a:rPr>
              <a:t>簡易核身</a:t>
            </a:r>
          </a:p>
        </p:txBody>
      </p:sp>
      <p:sp>
        <p:nvSpPr>
          <p:cNvPr id="20" name="橢圓 19"/>
          <p:cNvSpPr/>
          <p:nvPr/>
        </p:nvSpPr>
        <p:spPr bwMode="auto">
          <a:xfrm>
            <a:off x="2490054" y="3915138"/>
            <a:ext cx="324000" cy="32400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US" altLang="zh-TW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1</a:t>
            </a:r>
            <a:endParaRPr lang="zh-TW" altLang="en-US" sz="16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矩形 21"/>
          <p:cNvSpPr/>
          <p:nvPr/>
        </p:nvSpPr>
        <p:spPr bwMode="auto">
          <a:xfrm>
            <a:off x="3781460" y="3876110"/>
            <a:ext cx="1450498" cy="288000"/>
          </a:xfrm>
          <a:prstGeom prst="rect">
            <a:avLst/>
          </a:prstGeom>
          <a:solidFill>
            <a:srgbClr val="31A0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b="1" dirty="0" smtClean="0">
                <a:solidFill>
                  <a:srgbClr val="FFFFFF"/>
                </a:solidFill>
                <a:ea typeface="微軟正黑體" panose="020B0604030504040204" pitchFamily="34" charset="-120"/>
              </a:rPr>
              <a:t>確認條款</a:t>
            </a:r>
          </a:p>
        </p:txBody>
      </p:sp>
      <p:sp>
        <p:nvSpPr>
          <p:cNvPr id="23" name="橢圓 22"/>
          <p:cNvSpPr/>
          <p:nvPr/>
        </p:nvSpPr>
        <p:spPr bwMode="auto">
          <a:xfrm>
            <a:off x="3643020" y="3996900"/>
            <a:ext cx="324000" cy="32400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US" altLang="zh-TW" sz="16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endParaRPr lang="zh-TW" altLang="en-US" sz="16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4" name="矩形 23"/>
          <p:cNvSpPr/>
          <p:nvPr/>
        </p:nvSpPr>
        <p:spPr bwMode="auto">
          <a:xfrm>
            <a:off x="4736943" y="4909504"/>
            <a:ext cx="1302649" cy="288000"/>
          </a:xfrm>
          <a:prstGeom prst="rect">
            <a:avLst/>
          </a:prstGeom>
          <a:solidFill>
            <a:srgbClr val="31A0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b="1" dirty="0">
                <a:solidFill>
                  <a:srgbClr val="FFFFFF"/>
                </a:solidFill>
                <a:ea typeface="微軟正黑體" panose="020B0604030504040204" pitchFamily="34" charset="-120"/>
              </a:rPr>
              <a:t>申貸內容</a:t>
            </a:r>
            <a:endParaRPr lang="zh-TW" altLang="en-US" b="1" dirty="0" smtClean="0">
              <a:solidFill>
                <a:srgbClr val="FFFFFF"/>
              </a:solidFill>
              <a:ea typeface="微軟正黑體" panose="020B0604030504040204" pitchFamily="34" charset="-120"/>
            </a:endParaRPr>
          </a:p>
        </p:txBody>
      </p:sp>
      <p:sp>
        <p:nvSpPr>
          <p:cNvPr id="25" name="橢圓 24"/>
          <p:cNvSpPr/>
          <p:nvPr/>
        </p:nvSpPr>
        <p:spPr bwMode="auto">
          <a:xfrm>
            <a:off x="4598503" y="5030085"/>
            <a:ext cx="324000" cy="32400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US" altLang="zh-TW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3</a:t>
            </a:r>
            <a:endParaRPr lang="zh-TW" altLang="en-US" sz="16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8" name="矩形 27"/>
          <p:cNvSpPr/>
          <p:nvPr/>
        </p:nvSpPr>
        <p:spPr bwMode="auto">
          <a:xfrm>
            <a:off x="5768934" y="5215876"/>
            <a:ext cx="1169845" cy="288000"/>
          </a:xfrm>
          <a:prstGeom prst="rect">
            <a:avLst/>
          </a:prstGeom>
          <a:solidFill>
            <a:srgbClr val="31A0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b="1" dirty="0" smtClean="0">
                <a:solidFill>
                  <a:srgbClr val="FFFFFF"/>
                </a:solidFill>
                <a:ea typeface="微軟正黑體" panose="020B0604030504040204" pitchFamily="34" charset="-120"/>
              </a:rPr>
              <a:t>基本資料</a:t>
            </a:r>
          </a:p>
        </p:txBody>
      </p:sp>
      <p:sp>
        <p:nvSpPr>
          <p:cNvPr id="29" name="橢圓 28"/>
          <p:cNvSpPr/>
          <p:nvPr/>
        </p:nvSpPr>
        <p:spPr bwMode="auto">
          <a:xfrm>
            <a:off x="5630494" y="5328883"/>
            <a:ext cx="324000" cy="32400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US" altLang="zh-TW" sz="16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4</a:t>
            </a:r>
            <a:endParaRPr lang="zh-TW" altLang="en-US" sz="16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矩形 29"/>
          <p:cNvSpPr/>
          <p:nvPr/>
        </p:nvSpPr>
        <p:spPr bwMode="auto">
          <a:xfrm>
            <a:off x="6753219" y="5526855"/>
            <a:ext cx="1101166" cy="288000"/>
          </a:xfrm>
          <a:prstGeom prst="rect">
            <a:avLst/>
          </a:prstGeom>
          <a:solidFill>
            <a:srgbClr val="31A0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b="1" dirty="0" smtClean="0">
                <a:solidFill>
                  <a:srgbClr val="FFFFFF"/>
                </a:solidFill>
                <a:ea typeface="微軟正黑體" panose="020B0604030504040204" pitchFamily="34" charset="-120"/>
              </a:rPr>
              <a:t>結果確認</a:t>
            </a:r>
          </a:p>
        </p:txBody>
      </p:sp>
      <p:sp>
        <p:nvSpPr>
          <p:cNvPr id="31" name="橢圓 30"/>
          <p:cNvSpPr/>
          <p:nvPr/>
        </p:nvSpPr>
        <p:spPr bwMode="auto">
          <a:xfrm>
            <a:off x="6614779" y="5644695"/>
            <a:ext cx="324000" cy="32400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US" altLang="zh-TW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5</a:t>
            </a:r>
            <a:endParaRPr lang="zh-TW" altLang="en-US" sz="16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2" name="矩形 31"/>
          <p:cNvSpPr/>
          <p:nvPr/>
        </p:nvSpPr>
        <p:spPr bwMode="auto">
          <a:xfrm>
            <a:off x="7780896" y="5855044"/>
            <a:ext cx="1228567" cy="288000"/>
          </a:xfrm>
          <a:prstGeom prst="rect">
            <a:avLst/>
          </a:prstGeom>
          <a:solidFill>
            <a:srgbClr val="31A0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b="1" dirty="0" smtClean="0">
                <a:solidFill>
                  <a:srgbClr val="FFFFFF"/>
                </a:solidFill>
                <a:ea typeface="微軟正黑體" panose="020B0604030504040204" pitchFamily="34" charset="-120"/>
              </a:rPr>
              <a:t>文件上傳</a:t>
            </a:r>
          </a:p>
        </p:txBody>
      </p:sp>
      <p:sp>
        <p:nvSpPr>
          <p:cNvPr id="34" name="矩形 33"/>
          <p:cNvSpPr/>
          <p:nvPr/>
        </p:nvSpPr>
        <p:spPr bwMode="auto">
          <a:xfrm>
            <a:off x="8094431" y="6209843"/>
            <a:ext cx="1170697" cy="288000"/>
          </a:xfrm>
          <a:prstGeom prst="rect">
            <a:avLst/>
          </a:prstGeom>
          <a:solidFill>
            <a:srgbClr val="31A0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b="1" dirty="0" smtClean="0">
                <a:solidFill>
                  <a:srgbClr val="FFFFFF"/>
                </a:solidFill>
                <a:ea typeface="微軟正黑體" panose="020B0604030504040204" pitchFamily="34" charset="-120"/>
              </a:rPr>
              <a:t>確認申貸</a:t>
            </a:r>
          </a:p>
        </p:txBody>
      </p:sp>
      <p:sp>
        <p:nvSpPr>
          <p:cNvPr id="35" name="橢圓 34"/>
          <p:cNvSpPr/>
          <p:nvPr/>
        </p:nvSpPr>
        <p:spPr bwMode="auto">
          <a:xfrm>
            <a:off x="7948333" y="6327683"/>
            <a:ext cx="324000" cy="32400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US" altLang="zh-TW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7</a:t>
            </a:r>
            <a:endParaRPr lang="zh-TW" altLang="en-US" sz="16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3" name="橢圓 32"/>
          <p:cNvSpPr/>
          <p:nvPr/>
        </p:nvSpPr>
        <p:spPr bwMode="auto">
          <a:xfrm>
            <a:off x="7649771" y="6012639"/>
            <a:ext cx="324000" cy="32400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US" altLang="zh-TW" sz="16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6</a:t>
            </a:r>
            <a:endParaRPr lang="zh-TW" altLang="en-US" sz="16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文字方塊 4"/>
          <p:cNvSpPr txBox="1"/>
          <p:nvPr/>
        </p:nvSpPr>
        <p:spPr>
          <a:xfrm>
            <a:off x="6876550" y="3873654"/>
            <a:ext cx="201927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有</a:t>
            </a:r>
            <a:r>
              <a:rPr lang="zh-TW" alt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需求的人數</a:t>
            </a:r>
            <a:r>
              <a:rPr lang="zh-TW" alt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比例</a:t>
            </a:r>
            <a:endParaRPr lang="en-US" altLang="zh-TW" sz="1200" b="1" dirty="0" smtClean="0">
              <a:solidFill>
                <a:schemeClr val="tx1">
                  <a:lumMod val="95000"/>
                  <a:lumOff val="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3200" b="1" dirty="0">
                <a:solidFill>
                  <a:srgbClr val="C00000"/>
                </a:solidFill>
                <a:latin typeface="+mn-ea"/>
              </a:rPr>
              <a:t>33.4</a:t>
            </a:r>
            <a:r>
              <a:rPr lang="en-US" altLang="zh-TW" sz="3200" b="1" dirty="0" smtClean="0">
                <a:solidFill>
                  <a:srgbClr val="C00000"/>
                </a:solidFill>
                <a:latin typeface="+mn-ea"/>
              </a:rPr>
              <a:t>%</a:t>
            </a:r>
            <a:endParaRPr lang="zh-TW" altLang="en-US" sz="32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36" name="矩形 35"/>
          <p:cNvSpPr/>
          <p:nvPr/>
        </p:nvSpPr>
        <p:spPr bwMode="auto">
          <a:xfrm>
            <a:off x="2628493" y="1307264"/>
            <a:ext cx="6992583" cy="2147620"/>
          </a:xfrm>
          <a:prstGeom prst="rect">
            <a:avLst/>
          </a:prstGeom>
          <a:noFill/>
          <a:ln w="571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8" name="直線單箭頭接點 7"/>
          <p:cNvCxnSpPr/>
          <p:nvPr/>
        </p:nvCxnSpPr>
        <p:spPr bwMode="auto">
          <a:xfrm>
            <a:off x="7865926" y="3457745"/>
            <a:ext cx="0" cy="415909"/>
          </a:xfrm>
          <a:prstGeom prst="straightConnector1">
            <a:avLst/>
          </a:prstGeom>
          <a:noFill/>
          <a:ln w="508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37" name="文字方塊 36"/>
          <p:cNvSpPr txBox="1"/>
          <p:nvPr/>
        </p:nvSpPr>
        <p:spPr>
          <a:xfrm>
            <a:off x="1577378" y="1295285"/>
            <a:ext cx="9031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/>
            <a:r>
              <a:rPr lang="zh-TW" altLang="en-US" sz="1600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頁面</a:t>
            </a:r>
            <a:endParaRPr lang="en-US" altLang="zh-TW" sz="1600" b="1" dirty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fontAlgn="auto"/>
            <a:r>
              <a:rPr lang="zh-TW" altLang="en-US" sz="1600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內容</a:t>
            </a:r>
          </a:p>
        </p:txBody>
      </p:sp>
      <p:sp>
        <p:nvSpPr>
          <p:cNvPr id="3" name="矩形 2"/>
          <p:cNvSpPr/>
          <p:nvPr/>
        </p:nvSpPr>
        <p:spPr bwMode="auto">
          <a:xfrm>
            <a:off x="10217949" y="6457785"/>
            <a:ext cx="8267275" cy="25301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kumimoji="0" lang="zh-TW" altLang="en-US" sz="1100" b="0" i="0" u="none" strike="noStrike" cap="none" normalizeH="0" baseline="0" dirty="0" smtClean="0">
                <a:solidFill>
                  <a:schemeClr val="tx1"/>
                </a:solidFill>
                <a:effectLst/>
              </a:rPr>
              <a:t>文件上傳 </a:t>
            </a:r>
            <a:r>
              <a:rPr kumimoji="0" lang="en-US" altLang="zh-TW" sz="1100" b="0" i="0" u="none" strike="noStrike" cap="none" normalizeH="0" baseline="0" dirty="0" smtClean="0">
                <a:solidFill>
                  <a:schemeClr val="tx1"/>
                </a:solidFill>
                <a:effectLst/>
              </a:rPr>
              <a:t>28</a:t>
            </a:r>
            <a:r>
              <a:rPr kumimoji="0" lang="zh-TW" altLang="en-US" sz="1100" b="0" i="0" u="none" strike="noStrike" cap="none" normalizeH="0" baseline="0" dirty="0" smtClean="0">
                <a:solidFill>
                  <a:schemeClr val="tx1"/>
                </a:solidFill>
                <a:effectLst/>
              </a:rPr>
              <a:t>人：</a:t>
            </a:r>
            <a:endParaRPr kumimoji="0" lang="en-US" altLang="zh-TW" sz="1100" b="0" i="0" u="none" strike="noStrike" cap="none" normalizeH="0" baseline="0" dirty="0" smtClean="0">
              <a:solidFill>
                <a:schemeClr val="tx1"/>
              </a:solidFill>
              <a:effectLst/>
            </a:endParaRPr>
          </a:p>
          <a:p>
            <a:pPr marL="0" marR="0" indent="0" algn="l" defTabSz="889000" rtl="0" eaLnBrk="1" fontAlgn="base" latinLnBrk="0" hangingPunct="1"/>
            <a:r>
              <a:rPr kumimoji="0" lang="zh-TW" altLang="en-US" sz="1100" b="0" i="0" u="none" strike="noStrike" cap="none" normalizeH="0" baseline="0" dirty="0" smtClean="0">
                <a:solidFill>
                  <a:schemeClr val="tx1"/>
                </a:solidFill>
                <a:effectLst/>
              </a:rPr>
              <a:t>服務業 </a:t>
            </a:r>
            <a:r>
              <a:rPr kumimoji="0" lang="en-US" altLang="zh-TW" sz="1100" b="0" i="0" u="none" strike="noStrike" cap="none" normalizeH="0" baseline="0" dirty="0" smtClean="0">
                <a:solidFill>
                  <a:schemeClr val="tx1"/>
                </a:solidFill>
                <a:effectLst/>
              </a:rPr>
              <a:t>41%</a:t>
            </a:r>
          </a:p>
          <a:p>
            <a:pPr algn="l" defTabSz="889000"/>
            <a:r>
              <a:rPr lang="zh-TW" altLang="en-US" sz="1100" dirty="0"/>
              <a:t>事務支援人員</a:t>
            </a:r>
            <a:r>
              <a:rPr lang="en-US" altLang="zh-TW" sz="1100" dirty="0"/>
              <a:t>(</a:t>
            </a:r>
            <a:r>
              <a:rPr lang="zh-TW" altLang="en-US" sz="1100" dirty="0"/>
              <a:t>一般及文書事務人員、顧客資訊事務人員、顧客資訊事務人員、會計</a:t>
            </a:r>
            <a:r>
              <a:rPr lang="en-US" altLang="zh-TW" sz="1100" dirty="0"/>
              <a:t>/</a:t>
            </a:r>
            <a:r>
              <a:rPr lang="zh-TW" altLang="en-US" sz="1100" dirty="0"/>
              <a:t>生產</a:t>
            </a:r>
            <a:r>
              <a:rPr lang="en-US" altLang="zh-TW" sz="1100" dirty="0"/>
              <a:t>/</a:t>
            </a:r>
            <a:r>
              <a:rPr lang="zh-TW" altLang="en-US" sz="1100" dirty="0"/>
              <a:t>運輸</a:t>
            </a:r>
            <a:r>
              <a:rPr lang="en-US" altLang="zh-TW" sz="1100" dirty="0"/>
              <a:t>/</a:t>
            </a:r>
            <a:r>
              <a:rPr lang="zh-TW" altLang="en-US" sz="1100" dirty="0"/>
              <a:t>關事務人員、其他事務支援人員</a:t>
            </a:r>
            <a:r>
              <a:rPr lang="en-US" altLang="zh-TW" sz="1100" dirty="0" smtClean="0"/>
              <a:t>)</a:t>
            </a:r>
            <a:r>
              <a:rPr lang="zh-TW" altLang="en-US" sz="1100" dirty="0" smtClean="0"/>
              <a:t> </a:t>
            </a:r>
            <a:r>
              <a:rPr lang="en-US" altLang="zh-TW" sz="1100" dirty="0" smtClean="0"/>
              <a:t>45%</a:t>
            </a:r>
          </a:p>
          <a:p>
            <a:pPr algn="l" defTabSz="889000"/>
            <a:r>
              <a:rPr lang="en-US" altLang="zh-TW" sz="1100" dirty="0"/>
              <a:t>TARGMIX:</a:t>
            </a:r>
            <a:r>
              <a:rPr lang="zh-TW" altLang="en-US" sz="1100" dirty="0"/>
              <a:t>有持有分期型貸款戶且六個月內有動用信用卡循環</a:t>
            </a:r>
            <a:r>
              <a:rPr lang="zh-TW" altLang="en-US" sz="1100" dirty="0" smtClean="0"/>
              <a:t>信貸 </a:t>
            </a:r>
            <a:r>
              <a:rPr lang="en-US" altLang="zh-TW" sz="1100" dirty="0" smtClean="0"/>
              <a:t>80%</a:t>
            </a:r>
          </a:p>
          <a:p>
            <a:pPr algn="l" defTabSz="889000"/>
            <a:r>
              <a:rPr lang="zh-TW" altLang="en-US" sz="1100" dirty="0" smtClean="0"/>
              <a:t>學歷</a:t>
            </a:r>
            <a:r>
              <a:rPr lang="zh-TW" altLang="en-US" sz="1100" dirty="0"/>
              <a:t>：</a:t>
            </a:r>
            <a:r>
              <a:rPr lang="zh-TW" altLang="en-US" sz="1100" dirty="0" smtClean="0"/>
              <a:t>大學 </a:t>
            </a:r>
            <a:r>
              <a:rPr lang="en-US" altLang="zh-TW" sz="1100" dirty="0" smtClean="0"/>
              <a:t>41%</a:t>
            </a:r>
          </a:p>
          <a:p>
            <a:pPr algn="l" defTabSz="889000"/>
            <a:endParaRPr kumimoji="0" lang="zh-TW" altLang="en-US" sz="1100" b="0" i="0" u="none" strike="noStrike" cap="none" normalizeH="0" baseline="0" dirty="0" smtClean="0">
              <a:solidFill>
                <a:schemeClr val="tx1"/>
              </a:solidFill>
              <a:effectLst/>
            </a:endParaRPr>
          </a:p>
        </p:txBody>
      </p:sp>
      <p:sp>
        <p:nvSpPr>
          <p:cNvPr id="38" name="標題 1"/>
          <p:cNvSpPr txBox="1">
            <a:spLocks/>
          </p:cNvSpPr>
          <p:nvPr/>
        </p:nvSpPr>
        <p:spPr bwMode="auto">
          <a:xfrm>
            <a:off x="803082" y="209496"/>
            <a:ext cx="8364995" cy="505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+mj-cs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zh-TW" altLang="en-US" dirty="0"/>
              <a:t> 廣納新數據：本次迭代納入新型態數據，深化意圖捕捉</a:t>
            </a:r>
            <a:endParaRPr lang="zh-TW" altLang="en-US" kern="0" dirty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9408375"/>
              </p:ext>
            </p:extLst>
          </p:nvPr>
        </p:nvGraphicFramePr>
        <p:xfrm>
          <a:off x="10217949" y="2223550"/>
          <a:ext cx="7068568" cy="194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3571"/>
                <a:gridCol w="883571"/>
                <a:gridCol w="883571"/>
                <a:gridCol w="883571"/>
                <a:gridCol w="883571"/>
                <a:gridCol w="883571"/>
                <a:gridCol w="883571"/>
                <a:gridCol w="883571"/>
              </a:tblGrid>
              <a:tr h="370840">
                <a:tc>
                  <a:txBody>
                    <a:bodyPr/>
                    <a:lstStyle/>
                    <a:p>
                      <a:pPr algn="ctr" fontAlgn="auto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信貸</a:t>
                      </a:r>
                      <a:endParaRPr lang="zh-TW" altLang="en-US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簡易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 fontAlgn="auto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核身</a:t>
                      </a:r>
                      <a:endParaRPr lang="zh-TW" altLang="en-US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確認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條款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申貸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內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基本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資料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結果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確認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文件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上傳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確認</a:t>
                      </a:r>
                      <a:endParaRPr lang="en-US" altLang="zh-TW" sz="12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申貸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(</a:t>
                      </a:r>
                      <a:r>
                        <a:rPr lang="zh-TW" alt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本行</a:t>
                      </a:r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)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2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3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6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(</a:t>
                      </a:r>
                      <a:r>
                        <a:rPr lang="zh-TW" alt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他行</a:t>
                      </a:r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)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3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(</a:t>
                      </a:r>
                      <a:r>
                        <a:rPr lang="zh-TW" alt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進件</a:t>
                      </a:r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)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3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0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(leads)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9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5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9" name="表格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992738"/>
              </p:ext>
            </p:extLst>
          </p:nvPr>
        </p:nvGraphicFramePr>
        <p:xfrm>
          <a:off x="10217949" y="4361314"/>
          <a:ext cx="7068568" cy="194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3571"/>
                <a:gridCol w="883571"/>
                <a:gridCol w="883571"/>
                <a:gridCol w="883571"/>
                <a:gridCol w="883571"/>
                <a:gridCol w="883571"/>
                <a:gridCol w="883571"/>
                <a:gridCol w="883571"/>
              </a:tblGrid>
              <a:tr h="370840">
                <a:tc>
                  <a:txBody>
                    <a:bodyPr/>
                    <a:lstStyle/>
                    <a:p>
                      <a:pPr algn="ctr" fontAlgn="auto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信貸</a:t>
                      </a:r>
                      <a:endParaRPr lang="zh-TW" altLang="en-US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簡易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 fontAlgn="auto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核身</a:t>
                      </a:r>
                      <a:endParaRPr lang="zh-TW" altLang="en-US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確認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條款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申貸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內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基本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資料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結果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確認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文件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上傳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確認</a:t>
                      </a:r>
                      <a:endParaRPr lang="en-US" altLang="zh-TW" sz="1200" b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申貸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(</a:t>
                      </a:r>
                      <a:r>
                        <a:rPr lang="zh-TW" alt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本行</a:t>
                      </a:r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)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4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8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2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5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8.9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(</a:t>
                      </a:r>
                      <a:r>
                        <a:rPr lang="zh-TW" alt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他行</a:t>
                      </a:r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)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5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b="1" kern="1200" dirty="0">
                          <a:solidFill>
                            <a:srgbClr val="FF0000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5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0.0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(</a:t>
                      </a:r>
                      <a:r>
                        <a:rPr lang="zh-TW" alt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進件</a:t>
                      </a:r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)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8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5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5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6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8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44.4%</a:t>
                      </a: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(leads)</a:t>
                      </a:r>
                      <a:endParaRPr lang="zh-TW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4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64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0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zh-TW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6.7%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40" name="投影片編號版面配置區 3"/>
          <p:cNvSpPr txBox="1">
            <a:spLocks/>
          </p:cNvSpPr>
          <p:nvPr/>
        </p:nvSpPr>
        <p:spPr>
          <a:xfrm>
            <a:off x="9496208" y="6381330"/>
            <a:ext cx="488504" cy="36512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DA0BB7-265A-403C-9275-D587AB510EDC}" type="slidenum">
              <a:rPr lang="zh-TW" altLang="en-US" smtClean="0">
                <a:solidFill>
                  <a:schemeClr val="bg1"/>
                </a:solidFill>
              </a:rPr>
              <a:pPr/>
              <a:t>4</a:t>
            </a:fld>
            <a:endParaRPr lang="zh-TW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909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標題 1"/>
          <p:cNvSpPr txBox="1">
            <a:spLocks/>
          </p:cNvSpPr>
          <p:nvPr/>
        </p:nvSpPr>
        <p:spPr bwMode="auto">
          <a:xfrm>
            <a:off x="803082" y="209496"/>
            <a:ext cx="8364995" cy="505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+mj-cs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zh-TW" altLang="en-US" dirty="0" smtClean="0"/>
              <a:t> 廣</a:t>
            </a:r>
            <a:r>
              <a:rPr lang="zh-TW" altLang="en-US" dirty="0"/>
              <a:t>納新數據：瀏覽貸款網頁行為</a:t>
            </a:r>
            <a:endParaRPr lang="zh-TW" altLang="en-US" kern="0" dirty="0"/>
          </a:p>
        </p:txBody>
      </p:sp>
      <p:sp>
        <p:nvSpPr>
          <p:cNvPr id="19" name="矩形 18"/>
          <p:cNvSpPr/>
          <p:nvPr/>
        </p:nvSpPr>
        <p:spPr bwMode="auto">
          <a:xfrm>
            <a:off x="0" y="781050"/>
            <a:ext cx="9906000" cy="6076950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" name="矩形 2"/>
          <p:cNvSpPr/>
          <p:nvPr/>
        </p:nvSpPr>
        <p:spPr bwMode="auto">
          <a:xfrm>
            <a:off x="204522" y="981075"/>
            <a:ext cx="9510978" cy="56959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490" y="1808798"/>
            <a:ext cx="2143125" cy="214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橢圓 20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kumimoji="0" lang="en-US" altLang="zh-TW" sz="27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2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952252" y="3530332"/>
            <a:ext cx="473828" cy="2171908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1903797" y="4989260"/>
            <a:ext cx="473828" cy="716940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3945652" y="5478364"/>
            <a:ext cx="473828" cy="223876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41" name="文字方塊 40"/>
          <p:cNvSpPr txBox="1"/>
          <p:nvPr/>
        </p:nvSpPr>
        <p:spPr>
          <a:xfrm>
            <a:off x="692021" y="3239433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26,417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2" name="文字方塊 41"/>
          <p:cNvSpPr txBox="1"/>
          <p:nvPr/>
        </p:nvSpPr>
        <p:spPr>
          <a:xfrm>
            <a:off x="1643566" y="4710376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5,050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3" name="文字方塊 42"/>
          <p:cNvSpPr txBox="1"/>
          <p:nvPr/>
        </p:nvSpPr>
        <p:spPr>
          <a:xfrm>
            <a:off x="3685421" y="5201364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644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870808" y="3530332"/>
            <a:ext cx="6367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77.8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1822353" y="4990243"/>
            <a:ext cx="6367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1.6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47" name="文字方塊 46"/>
          <p:cNvSpPr txBox="1"/>
          <p:nvPr/>
        </p:nvSpPr>
        <p:spPr>
          <a:xfrm>
            <a:off x="1562314" y="5714415"/>
            <a:ext cx="11567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數軌</a:t>
            </a: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但</a:t>
            </a:r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無瀏覽</a:t>
            </a:r>
            <a:endParaRPr lang="en-US" altLang="zh-TW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款頁面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8" name="文字方塊 47"/>
          <p:cNvSpPr txBox="1"/>
          <p:nvPr/>
        </p:nvSpPr>
        <p:spPr>
          <a:xfrm>
            <a:off x="3604169" y="5714415"/>
            <a:ext cx="11567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瀏覽</a:t>
            </a:r>
          </a:p>
          <a:p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款頁面 </a:t>
            </a:r>
            <a:endParaRPr lang="en-US" altLang="zh-TW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且</a:t>
            </a:r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</a:t>
            </a:r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瀏覽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申貸頁面</a:t>
            </a:r>
          </a:p>
        </p:txBody>
      </p:sp>
      <p:sp>
        <p:nvSpPr>
          <p:cNvPr id="49" name="文字方塊 48"/>
          <p:cNvSpPr txBox="1"/>
          <p:nvPr/>
        </p:nvSpPr>
        <p:spPr>
          <a:xfrm>
            <a:off x="610769" y="5714415"/>
            <a:ext cx="11567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無數軌</a:t>
            </a: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紀錄</a:t>
            </a:r>
          </a:p>
        </p:txBody>
      </p:sp>
      <p:sp>
        <p:nvSpPr>
          <p:cNvPr id="50" name="文字方塊 49"/>
          <p:cNvSpPr txBox="1"/>
          <p:nvPr/>
        </p:nvSpPr>
        <p:spPr>
          <a:xfrm>
            <a:off x="222870" y="4235196"/>
            <a:ext cx="4488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400" b="1" dirty="0" smtClean="0">
                <a:solidFill>
                  <a:schemeClr val="bg1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戶數</a:t>
            </a:r>
          </a:p>
        </p:txBody>
      </p:sp>
      <p:sp>
        <p:nvSpPr>
          <p:cNvPr id="53" name="矩形 52"/>
          <p:cNvSpPr/>
          <p:nvPr/>
        </p:nvSpPr>
        <p:spPr>
          <a:xfrm>
            <a:off x="2921961" y="5563781"/>
            <a:ext cx="473828" cy="147983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54" name="文字方塊 53"/>
          <p:cNvSpPr txBox="1"/>
          <p:nvPr/>
        </p:nvSpPr>
        <p:spPr>
          <a:xfrm>
            <a:off x="2661730" y="5278138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91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6" name="文字方塊 55"/>
          <p:cNvSpPr txBox="1"/>
          <p:nvPr/>
        </p:nvSpPr>
        <p:spPr>
          <a:xfrm>
            <a:off x="2580478" y="5719980"/>
            <a:ext cx="11567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瀏覽</a:t>
            </a:r>
            <a:endParaRPr lang="en-US" altLang="zh-TW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款頁面</a:t>
            </a:r>
            <a:endParaRPr lang="en-US" altLang="zh-TW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但</a:t>
            </a:r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無瀏覽</a:t>
            </a:r>
            <a:endParaRPr lang="en-US" altLang="zh-TW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申貸頁面</a:t>
            </a:r>
            <a:endParaRPr lang="zh-TW" altLang="en-US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52" name="直線接點 51"/>
          <p:cNvCxnSpPr/>
          <p:nvPr/>
        </p:nvCxnSpPr>
        <p:spPr>
          <a:xfrm>
            <a:off x="709296" y="5702240"/>
            <a:ext cx="4005831" cy="0"/>
          </a:xfrm>
          <a:prstGeom prst="lin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  <a:prstDash val="solid"/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7" name="矩形 56"/>
          <p:cNvSpPr/>
          <p:nvPr/>
        </p:nvSpPr>
        <p:spPr>
          <a:xfrm>
            <a:off x="5659005" y="3534741"/>
            <a:ext cx="473828" cy="2171908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6610550" y="4081220"/>
            <a:ext cx="473828" cy="1629389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8652405" y="5492061"/>
            <a:ext cx="473828" cy="214587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60" name="文字方塊 59"/>
          <p:cNvSpPr txBox="1"/>
          <p:nvPr/>
        </p:nvSpPr>
        <p:spPr>
          <a:xfrm>
            <a:off x="5317521" y="3243842"/>
            <a:ext cx="11567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4,571,276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1" name="文字方塊 60"/>
          <p:cNvSpPr txBox="1"/>
          <p:nvPr/>
        </p:nvSpPr>
        <p:spPr>
          <a:xfrm>
            <a:off x="6350319" y="3796374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8,267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2" name="文字方塊 61"/>
          <p:cNvSpPr txBox="1"/>
          <p:nvPr/>
        </p:nvSpPr>
        <p:spPr>
          <a:xfrm>
            <a:off x="8392174" y="5215062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13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3" name="矩形 62"/>
          <p:cNvSpPr/>
          <p:nvPr/>
        </p:nvSpPr>
        <p:spPr>
          <a:xfrm>
            <a:off x="5577561" y="3534741"/>
            <a:ext cx="6367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98.1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6574792" y="4082214"/>
            <a:ext cx="5453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9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66" name="文字方塊 65"/>
          <p:cNvSpPr txBox="1"/>
          <p:nvPr/>
        </p:nvSpPr>
        <p:spPr>
          <a:xfrm>
            <a:off x="6269067" y="5718824"/>
            <a:ext cx="11567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數軌</a:t>
            </a: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但無瀏覽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款頁面</a:t>
            </a:r>
          </a:p>
        </p:txBody>
      </p:sp>
      <p:sp>
        <p:nvSpPr>
          <p:cNvPr id="67" name="文字方塊 66"/>
          <p:cNvSpPr txBox="1"/>
          <p:nvPr/>
        </p:nvSpPr>
        <p:spPr>
          <a:xfrm>
            <a:off x="8310922" y="5718824"/>
            <a:ext cx="11567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瀏覽</a:t>
            </a: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款頁面 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且有瀏覽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申貸頁面</a:t>
            </a:r>
          </a:p>
        </p:txBody>
      </p:sp>
      <p:sp>
        <p:nvSpPr>
          <p:cNvPr id="68" name="文字方塊 67"/>
          <p:cNvSpPr txBox="1"/>
          <p:nvPr/>
        </p:nvSpPr>
        <p:spPr>
          <a:xfrm>
            <a:off x="5317522" y="5718824"/>
            <a:ext cx="11567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無數軌</a:t>
            </a: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紀錄</a:t>
            </a:r>
          </a:p>
        </p:txBody>
      </p:sp>
      <p:sp>
        <p:nvSpPr>
          <p:cNvPr id="69" name="矩形 68"/>
          <p:cNvSpPr/>
          <p:nvPr/>
        </p:nvSpPr>
        <p:spPr>
          <a:xfrm>
            <a:off x="7628714" y="5194794"/>
            <a:ext cx="473828" cy="521380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70" name="文字方塊 69"/>
          <p:cNvSpPr txBox="1"/>
          <p:nvPr/>
        </p:nvSpPr>
        <p:spPr>
          <a:xfrm>
            <a:off x="7368483" y="4917795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,022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2" name="文字方塊 71"/>
          <p:cNvSpPr txBox="1"/>
          <p:nvPr/>
        </p:nvSpPr>
        <p:spPr>
          <a:xfrm>
            <a:off x="7287231" y="5724389"/>
            <a:ext cx="11567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瀏覽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款頁面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但無瀏覽</a:t>
            </a:r>
            <a:endParaRPr lang="en-US" altLang="zh-TW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申貸頁面</a:t>
            </a:r>
          </a:p>
        </p:txBody>
      </p:sp>
      <p:cxnSp>
        <p:nvCxnSpPr>
          <p:cNvPr id="73" name="直線接點 72"/>
          <p:cNvCxnSpPr/>
          <p:nvPr/>
        </p:nvCxnSpPr>
        <p:spPr>
          <a:xfrm>
            <a:off x="5416049" y="5706649"/>
            <a:ext cx="4005831" cy="0"/>
          </a:xfrm>
          <a:prstGeom prst="lin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  <a:prstDash val="solid"/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" name="流程圖: 打孔紙帶 3"/>
          <p:cNvSpPr/>
          <p:nvPr/>
        </p:nvSpPr>
        <p:spPr bwMode="auto">
          <a:xfrm>
            <a:off x="5659005" y="4082877"/>
            <a:ext cx="473828" cy="137342"/>
          </a:xfrm>
          <a:prstGeom prst="flowChartPunchedTap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6" name="矩形 75"/>
          <p:cNvSpPr/>
          <p:nvPr/>
        </p:nvSpPr>
        <p:spPr bwMode="auto">
          <a:xfrm>
            <a:off x="204522" y="1782014"/>
            <a:ext cx="9510977" cy="14847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0" name="文字方塊 79"/>
          <p:cNvSpPr txBox="1"/>
          <p:nvPr/>
        </p:nvSpPr>
        <p:spPr>
          <a:xfrm>
            <a:off x="226421" y="1927651"/>
            <a:ext cx="4488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400" b="1" dirty="0" smtClean="0">
                <a:solidFill>
                  <a:schemeClr val="bg1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</a:t>
            </a:r>
          </a:p>
        </p:txBody>
      </p:sp>
      <p:sp>
        <p:nvSpPr>
          <p:cNvPr id="88" name="橢圓 87"/>
          <p:cNvSpPr/>
          <p:nvPr/>
        </p:nvSpPr>
        <p:spPr bwMode="auto">
          <a:xfrm>
            <a:off x="911308" y="2247423"/>
            <a:ext cx="540000" cy="540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4.1</a:t>
            </a:r>
            <a:r>
              <a:rPr kumimoji="0" lang="en-US" altLang="zh-TW" sz="12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kumimoji="0" lang="zh-TW" altLang="en-US" sz="12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89" name="直線接點 88"/>
          <p:cNvCxnSpPr>
            <a:stCxn id="88" idx="6"/>
            <a:endCxn id="90" idx="2"/>
          </p:cNvCxnSpPr>
          <p:nvPr/>
        </p:nvCxnSpPr>
        <p:spPr bwMode="auto">
          <a:xfrm flipV="1">
            <a:off x="1451308" y="2285026"/>
            <a:ext cx="426815" cy="232397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0" name="橢圓 89"/>
          <p:cNvSpPr/>
          <p:nvPr/>
        </p:nvSpPr>
        <p:spPr bwMode="auto">
          <a:xfrm>
            <a:off x="1878123" y="2015026"/>
            <a:ext cx="540000" cy="540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9.5</a:t>
            </a:r>
            <a:r>
              <a:rPr kumimoji="0" lang="en-US" altLang="zh-TW" sz="12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kumimoji="0" lang="zh-TW" altLang="en-US" sz="12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6" name="直線接點 5"/>
          <p:cNvCxnSpPr/>
          <p:nvPr/>
        </p:nvCxnSpPr>
        <p:spPr bwMode="auto">
          <a:xfrm>
            <a:off x="4940961" y="1114425"/>
            <a:ext cx="0" cy="53721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1" name="橢圓 90"/>
          <p:cNvSpPr/>
          <p:nvPr/>
        </p:nvSpPr>
        <p:spPr bwMode="auto">
          <a:xfrm>
            <a:off x="2890309" y="1817675"/>
            <a:ext cx="540000" cy="540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8.5</a:t>
            </a:r>
            <a:r>
              <a:rPr kumimoji="0" lang="en-US" altLang="zh-TW" sz="12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kumimoji="0" lang="zh-TW" altLang="en-US" sz="12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92" name="直線接點 91"/>
          <p:cNvCxnSpPr>
            <a:stCxn id="91" idx="6"/>
            <a:endCxn id="93" idx="2"/>
          </p:cNvCxnSpPr>
          <p:nvPr/>
        </p:nvCxnSpPr>
        <p:spPr bwMode="auto">
          <a:xfrm>
            <a:off x="3430309" y="2087675"/>
            <a:ext cx="467759" cy="40563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3" name="橢圓 92"/>
          <p:cNvSpPr/>
          <p:nvPr/>
        </p:nvSpPr>
        <p:spPr bwMode="auto">
          <a:xfrm>
            <a:off x="3898068" y="1858238"/>
            <a:ext cx="540000" cy="540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7.2</a:t>
            </a:r>
            <a:r>
              <a:rPr kumimoji="0" lang="en-US" altLang="zh-TW" sz="12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kumimoji="0" lang="zh-TW" altLang="en-US" sz="12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94" name="直線接點 93"/>
          <p:cNvCxnSpPr>
            <a:stCxn id="90" idx="6"/>
            <a:endCxn id="91" idx="2"/>
          </p:cNvCxnSpPr>
          <p:nvPr/>
        </p:nvCxnSpPr>
        <p:spPr bwMode="auto">
          <a:xfrm flipV="1">
            <a:off x="2418123" y="2087675"/>
            <a:ext cx="472186" cy="197351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橢圓 94"/>
          <p:cNvSpPr/>
          <p:nvPr/>
        </p:nvSpPr>
        <p:spPr bwMode="auto">
          <a:xfrm>
            <a:off x="5596019" y="2701148"/>
            <a:ext cx="540000" cy="540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2</a:t>
            </a:r>
            <a:r>
              <a:rPr kumimoji="0" lang="en-US" altLang="zh-TW" sz="12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kumimoji="0" lang="zh-TW" altLang="en-US" sz="12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96" name="直線接點 95"/>
          <p:cNvCxnSpPr>
            <a:stCxn id="95" idx="6"/>
            <a:endCxn id="97" idx="2"/>
          </p:cNvCxnSpPr>
          <p:nvPr/>
        </p:nvCxnSpPr>
        <p:spPr bwMode="auto">
          <a:xfrm flipV="1">
            <a:off x="6136019" y="2834287"/>
            <a:ext cx="426815" cy="136861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7" name="橢圓 96"/>
          <p:cNvSpPr/>
          <p:nvPr/>
        </p:nvSpPr>
        <p:spPr bwMode="auto">
          <a:xfrm>
            <a:off x="6562834" y="2564287"/>
            <a:ext cx="540000" cy="540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6.1</a:t>
            </a:r>
            <a:r>
              <a:rPr kumimoji="0" lang="en-US" altLang="zh-TW" sz="12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kumimoji="0" lang="zh-TW" altLang="en-US" sz="12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8" name="橢圓 97"/>
          <p:cNvSpPr/>
          <p:nvPr/>
        </p:nvSpPr>
        <p:spPr bwMode="auto">
          <a:xfrm>
            <a:off x="7575020" y="2312344"/>
            <a:ext cx="540000" cy="540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4.8</a:t>
            </a:r>
            <a:r>
              <a:rPr kumimoji="0" lang="en-US" altLang="zh-TW" sz="12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kumimoji="0" lang="zh-TW" altLang="en-US" sz="12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99" name="直線接點 98"/>
          <p:cNvCxnSpPr>
            <a:stCxn id="98" idx="6"/>
            <a:endCxn id="100" idx="2"/>
          </p:cNvCxnSpPr>
          <p:nvPr/>
        </p:nvCxnSpPr>
        <p:spPr bwMode="auto">
          <a:xfrm>
            <a:off x="8115020" y="2582344"/>
            <a:ext cx="467759" cy="13267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0" name="橢圓 99"/>
          <p:cNvSpPr/>
          <p:nvPr/>
        </p:nvSpPr>
        <p:spPr bwMode="auto">
          <a:xfrm>
            <a:off x="8582779" y="2325611"/>
            <a:ext cx="540000" cy="540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4.5</a:t>
            </a:r>
            <a:r>
              <a:rPr kumimoji="0" lang="en-US" altLang="zh-TW" sz="12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endParaRPr kumimoji="0" lang="zh-TW" altLang="en-US" sz="12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101" name="直線接點 100"/>
          <p:cNvCxnSpPr>
            <a:stCxn id="97" idx="6"/>
            <a:endCxn id="98" idx="2"/>
          </p:cNvCxnSpPr>
          <p:nvPr/>
        </p:nvCxnSpPr>
        <p:spPr bwMode="auto">
          <a:xfrm flipV="1">
            <a:off x="7102834" y="2582344"/>
            <a:ext cx="472186" cy="251943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圓角化單一角落矩形 64"/>
          <p:cNvSpPr/>
          <p:nvPr/>
        </p:nvSpPr>
        <p:spPr bwMode="auto">
          <a:xfrm>
            <a:off x="1399419" y="1132332"/>
            <a:ext cx="3349027" cy="434073"/>
          </a:xfrm>
          <a:prstGeom prst="round1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本行信貸舊戶 </a:t>
            </a:r>
            <a:r>
              <a:rPr lang="en-US" altLang="zh-TW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 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三年內曾有本行信貸 </a:t>
            </a:r>
            <a:r>
              <a:rPr lang="en-US" altLang="zh-TW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</p:txBody>
      </p:sp>
      <p:sp>
        <p:nvSpPr>
          <p:cNvPr id="77" name="橢圓 76"/>
          <p:cNvSpPr/>
          <p:nvPr/>
        </p:nvSpPr>
        <p:spPr bwMode="auto">
          <a:xfrm>
            <a:off x="805037" y="1019256"/>
            <a:ext cx="648000" cy="648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kumimoji="0" lang="zh-TW" altLang="en-US" sz="18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舊戶</a:t>
            </a:r>
          </a:p>
        </p:txBody>
      </p:sp>
      <p:sp>
        <p:nvSpPr>
          <p:cNvPr id="79" name="圓角化單一角落矩形 78"/>
          <p:cNvSpPr/>
          <p:nvPr/>
        </p:nvSpPr>
        <p:spPr bwMode="auto">
          <a:xfrm>
            <a:off x="5787953" y="1132332"/>
            <a:ext cx="3349027" cy="434073"/>
          </a:xfrm>
          <a:prstGeom prst="round1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>
              <a:lnSpc>
                <a:spcPct val="150000"/>
              </a:lnSpc>
            </a:pP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本行信貸新戶 </a:t>
            </a:r>
            <a:r>
              <a:rPr lang="en-US" altLang="zh-TW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 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三年內不曾有本行信貸 </a:t>
            </a:r>
            <a:r>
              <a:rPr lang="en-US" altLang="zh-TW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</p:txBody>
      </p:sp>
      <p:sp>
        <p:nvSpPr>
          <p:cNvPr id="82" name="橢圓 81"/>
          <p:cNvSpPr/>
          <p:nvPr/>
        </p:nvSpPr>
        <p:spPr bwMode="auto">
          <a:xfrm>
            <a:off x="5193571" y="1019256"/>
            <a:ext cx="648000" cy="648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zh-TW" altLang="en-US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戶</a:t>
            </a:r>
            <a:endParaRPr lang="zh-TW" altLang="en-US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3909895" y="5452497"/>
            <a:ext cx="5453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.4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3331498" y="5049285"/>
            <a:ext cx="5453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.2%</a:t>
            </a:r>
            <a:endParaRPr lang="zh-TW" alt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0" name="肘形接點 9"/>
          <p:cNvCxnSpPr>
            <a:stCxn id="86" idx="2"/>
            <a:endCxn id="53" idx="3"/>
          </p:cNvCxnSpPr>
          <p:nvPr/>
        </p:nvCxnSpPr>
        <p:spPr bwMode="auto">
          <a:xfrm rot="5400000">
            <a:off x="3344235" y="5377838"/>
            <a:ext cx="311489" cy="208380"/>
          </a:xfrm>
          <a:prstGeom prst="bentConnector2">
            <a:avLst/>
          </a:prstGeom>
          <a:noFill/>
          <a:ln w="3175" cap="flat" cmpd="sng" algn="ctr">
            <a:solidFill>
              <a:schemeClr val="tx1">
                <a:lumMod val="75000"/>
                <a:lumOff val="2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87" name="矩形 86"/>
          <p:cNvSpPr/>
          <p:nvPr/>
        </p:nvSpPr>
        <p:spPr>
          <a:xfrm>
            <a:off x="7547265" y="5194794"/>
            <a:ext cx="6367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.01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103" name="矩形 102"/>
          <p:cNvSpPr/>
          <p:nvPr/>
        </p:nvSpPr>
        <p:spPr>
          <a:xfrm>
            <a:off x="8570282" y="5461462"/>
            <a:ext cx="6367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.01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0910294" y="476267"/>
            <a:ext cx="582211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>
            <a:spAutoFit/>
          </a:bodyPr>
          <a:lstStyle/>
          <a:p>
            <a:r>
              <a:rPr lang="en-US" altLang="zh-TW" dirty="0" smtClean="0"/>
              <a:t>1912</a:t>
            </a:r>
            <a:endParaRPr lang="zh-TW" altLang="en-US" dirty="0"/>
          </a:p>
        </p:txBody>
      </p:sp>
      <p:sp>
        <p:nvSpPr>
          <p:cNvPr id="74" name="投影片編號版面配置區 3"/>
          <p:cNvSpPr txBox="1">
            <a:spLocks/>
          </p:cNvSpPr>
          <p:nvPr/>
        </p:nvSpPr>
        <p:spPr>
          <a:xfrm>
            <a:off x="9345488" y="6381330"/>
            <a:ext cx="488504" cy="36512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DA0BB7-265A-403C-9275-D587AB510EDC}" type="slidenum">
              <a:rPr lang="zh-TW" altLang="en-US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5</a:t>
            </a:fld>
            <a:endParaRPr lang="zh-TW" alt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22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標題 1"/>
          <p:cNvSpPr txBox="1">
            <a:spLocks/>
          </p:cNvSpPr>
          <p:nvPr/>
        </p:nvSpPr>
        <p:spPr bwMode="auto">
          <a:xfrm>
            <a:off x="803082" y="209496"/>
            <a:ext cx="8364995" cy="505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+mj-cs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zh-TW" altLang="en-US" dirty="0" smtClean="0"/>
              <a:t> 廣</a:t>
            </a:r>
            <a:r>
              <a:rPr lang="zh-TW" altLang="en-US" dirty="0"/>
              <a:t>納新數據：行銀瀏覽與 </a:t>
            </a:r>
            <a:r>
              <a:rPr lang="en-US" altLang="zh-TW" dirty="0"/>
              <a:t>EDM</a:t>
            </a:r>
            <a:r>
              <a:rPr lang="zh-TW" altLang="en-US" dirty="0"/>
              <a:t> 讀取行為</a:t>
            </a:r>
            <a:endParaRPr lang="zh-TW" altLang="en-US" kern="0" dirty="0"/>
          </a:p>
        </p:txBody>
      </p:sp>
      <p:sp>
        <p:nvSpPr>
          <p:cNvPr id="19" name="矩形 18"/>
          <p:cNvSpPr/>
          <p:nvPr/>
        </p:nvSpPr>
        <p:spPr bwMode="auto">
          <a:xfrm>
            <a:off x="0" y="781050"/>
            <a:ext cx="9906000" cy="6076950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" name="矩形 2"/>
          <p:cNvSpPr/>
          <p:nvPr/>
        </p:nvSpPr>
        <p:spPr bwMode="auto">
          <a:xfrm>
            <a:off x="197511" y="971550"/>
            <a:ext cx="9510978" cy="56959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4059" name="矩形 44058"/>
          <p:cNvSpPr/>
          <p:nvPr/>
        </p:nvSpPr>
        <p:spPr bwMode="auto">
          <a:xfrm>
            <a:off x="197511" y="1754717"/>
            <a:ext cx="9510978" cy="18180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490" y="1808798"/>
            <a:ext cx="2143125" cy="214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橢圓 20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kumimoji="0" lang="en-US" altLang="zh-TW" sz="27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2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286194" y="3863707"/>
            <a:ext cx="473828" cy="2171908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475297" y="5518195"/>
            <a:ext cx="473828" cy="521380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3736102" y="5804035"/>
            <a:ext cx="473828" cy="231580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6" name="文字方塊 5"/>
          <p:cNvSpPr txBox="1"/>
          <p:nvPr/>
        </p:nvSpPr>
        <p:spPr>
          <a:xfrm>
            <a:off x="1025963" y="3572808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73,520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" name="文字方塊 16"/>
          <p:cNvSpPr txBox="1"/>
          <p:nvPr/>
        </p:nvSpPr>
        <p:spPr>
          <a:xfrm>
            <a:off x="2215066" y="5241196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65,338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" name="文字方塊 17"/>
          <p:cNvSpPr txBox="1"/>
          <p:nvPr/>
        </p:nvSpPr>
        <p:spPr>
          <a:xfrm>
            <a:off x="3475871" y="5527036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6,633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1204750" y="3863707"/>
            <a:ext cx="6367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8.9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2393853" y="5527036"/>
            <a:ext cx="6367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.1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3700345" y="5758616"/>
            <a:ext cx="5453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0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16" name="圓角化單一角落矩形 15"/>
          <p:cNvSpPr/>
          <p:nvPr/>
        </p:nvSpPr>
        <p:spPr bwMode="auto">
          <a:xfrm>
            <a:off x="1399419" y="1132332"/>
            <a:ext cx="3349027" cy="434073"/>
          </a:xfrm>
          <a:prstGeom prst="round1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889000"/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近三年非與本行有信貸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往來：</a:t>
            </a:r>
            <a:endParaRPr lang="en-US" altLang="zh-TW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r" defTabSz="889000"/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當月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行銀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瀏覽</a:t>
            </a:r>
            <a:r>
              <a:rPr lang="zh-TW" altLang="en-US" b="1" dirty="0" smtClean="0">
                <a:solidFill>
                  <a:schemeClr val="bg1"/>
                </a:solidFill>
                <a:latin typeface="微軟正黑體"/>
                <a:ea typeface="微軟正黑體"/>
              </a:rPr>
              <a:t>「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款</a:t>
            </a:r>
            <a:r>
              <a:rPr lang="zh-TW" altLang="en-US" b="1" dirty="0" smtClean="0">
                <a:solidFill>
                  <a:schemeClr val="bg1"/>
                </a:solidFill>
                <a:latin typeface="微軟正黑體"/>
                <a:ea typeface="微軟正黑體"/>
              </a:rPr>
              <a:t>」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頁</a:t>
            </a:r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面的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次數</a:t>
            </a:r>
            <a:endParaRPr kumimoji="0" lang="en-US" altLang="zh-TW" sz="1400" b="1" i="0" u="none" strike="noStrike" cap="none" normalizeH="0" baseline="0" dirty="0" smtClean="0">
              <a:solidFill>
                <a:schemeClr val="bg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" name="文字方塊 27"/>
          <p:cNvSpPr txBox="1"/>
          <p:nvPr/>
        </p:nvSpPr>
        <p:spPr>
          <a:xfrm>
            <a:off x="2133814" y="6047790"/>
            <a:ext cx="11567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瀏覽行銀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款頁面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次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8" name="文字方塊 57"/>
          <p:cNvSpPr txBox="1"/>
          <p:nvPr/>
        </p:nvSpPr>
        <p:spPr>
          <a:xfrm>
            <a:off x="3394619" y="6047790"/>
            <a:ext cx="11567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瀏覽行銀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貸款頁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面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次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以上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9" name="文字方塊 58"/>
          <p:cNvSpPr txBox="1"/>
          <p:nvPr/>
        </p:nvSpPr>
        <p:spPr>
          <a:xfrm>
            <a:off x="944711" y="6047790"/>
            <a:ext cx="11567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無瀏覽行銀</a:t>
            </a:r>
          </a:p>
        </p:txBody>
      </p:sp>
      <p:grpSp>
        <p:nvGrpSpPr>
          <p:cNvPr id="44058" name="群組 44057"/>
          <p:cNvGrpSpPr/>
          <p:nvPr/>
        </p:nvGrpSpPr>
        <p:grpSpPr>
          <a:xfrm>
            <a:off x="805037" y="1019256"/>
            <a:ext cx="648000" cy="648000"/>
            <a:chOff x="1904199" y="1862798"/>
            <a:chExt cx="648000" cy="648000"/>
          </a:xfrm>
        </p:grpSpPr>
        <p:sp>
          <p:nvSpPr>
            <p:cNvPr id="44057" name="橢圓 44056"/>
            <p:cNvSpPr/>
            <p:nvPr/>
          </p:nvSpPr>
          <p:spPr bwMode="auto">
            <a:xfrm>
              <a:off x="1904199" y="1862798"/>
              <a:ext cx="648000" cy="648000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rgbClr val="2D97A5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pic>
          <p:nvPicPr>
            <p:cNvPr id="44056" name="Picture 2" descr="C:\Users\Z00044610\Downloads\payment-method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8199" y="1916798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4" name="橢圓 63"/>
          <p:cNvSpPr/>
          <p:nvPr/>
        </p:nvSpPr>
        <p:spPr bwMode="auto">
          <a:xfrm>
            <a:off x="1199108" y="2796881"/>
            <a:ext cx="648000" cy="648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kumimoji="0" lang="en-US" altLang="zh-TW" sz="12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5.1%</a:t>
            </a:r>
            <a:endParaRPr kumimoji="0" lang="zh-TW" altLang="en-US" sz="12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6" name="橢圓 65"/>
          <p:cNvSpPr/>
          <p:nvPr/>
        </p:nvSpPr>
        <p:spPr bwMode="auto">
          <a:xfrm>
            <a:off x="2388210" y="2319821"/>
            <a:ext cx="648000" cy="648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9</a:t>
            </a:r>
            <a:r>
              <a:rPr kumimoji="0" lang="en-US" altLang="zh-TW" sz="14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.5%</a:t>
            </a:r>
            <a:endParaRPr kumimoji="0" lang="zh-TW" altLang="en-US" sz="14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7" name="橢圓 66"/>
          <p:cNvSpPr/>
          <p:nvPr/>
        </p:nvSpPr>
        <p:spPr bwMode="auto">
          <a:xfrm>
            <a:off x="3649016" y="1896259"/>
            <a:ext cx="648000" cy="648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4</a:t>
            </a:r>
            <a:r>
              <a:rPr kumimoji="0" lang="en-US" altLang="zh-TW" sz="16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.3%</a:t>
            </a:r>
            <a:endParaRPr kumimoji="0" lang="zh-TW" altLang="en-US" sz="16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4060" name="文字方塊 44059"/>
          <p:cNvSpPr txBox="1"/>
          <p:nvPr/>
        </p:nvSpPr>
        <p:spPr>
          <a:xfrm>
            <a:off x="403845" y="2043656"/>
            <a:ext cx="4488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400" b="1" dirty="0" smtClean="0">
                <a:solidFill>
                  <a:schemeClr val="bg1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</a:t>
            </a:r>
          </a:p>
        </p:txBody>
      </p:sp>
      <p:sp>
        <p:nvSpPr>
          <p:cNvPr id="70" name="文字方塊 69"/>
          <p:cNvSpPr txBox="1"/>
          <p:nvPr/>
        </p:nvSpPr>
        <p:spPr>
          <a:xfrm>
            <a:off x="403845" y="4349496"/>
            <a:ext cx="4488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400" b="1" dirty="0" smtClean="0">
                <a:solidFill>
                  <a:schemeClr val="bg1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戶數</a:t>
            </a:r>
          </a:p>
        </p:txBody>
      </p:sp>
      <p:cxnSp>
        <p:nvCxnSpPr>
          <p:cNvPr id="44062" name="直線接點 44061"/>
          <p:cNvCxnSpPr>
            <a:stCxn id="64" idx="6"/>
            <a:endCxn id="66" idx="2"/>
          </p:cNvCxnSpPr>
          <p:nvPr/>
        </p:nvCxnSpPr>
        <p:spPr bwMode="auto">
          <a:xfrm flipV="1">
            <a:off x="1847108" y="2643821"/>
            <a:ext cx="541102" cy="477060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直線接點 74"/>
          <p:cNvCxnSpPr>
            <a:stCxn id="66" idx="6"/>
            <a:endCxn id="67" idx="2"/>
          </p:cNvCxnSpPr>
          <p:nvPr/>
        </p:nvCxnSpPr>
        <p:spPr bwMode="auto">
          <a:xfrm flipV="1">
            <a:off x="3036210" y="2220259"/>
            <a:ext cx="612806" cy="423562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矩形 77"/>
          <p:cNvSpPr/>
          <p:nvPr/>
        </p:nvSpPr>
        <p:spPr>
          <a:xfrm>
            <a:off x="5756149" y="4277801"/>
            <a:ext cx="473828" cy="1757549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81" name="矩形 80"/>
          <p:cNvSpPr/>
          <p:nvPr/>
        </p:nvSpPr>
        <p:spPr>
          <a:xfrm>
            <a:off x="8206057" y="5803771"/>
            <a:ext cx="473828" cy="231580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82" name="文字方塊 81"/>
          <p:cNvSpPr txBox="1"/>
          <p:nvPr/>
        </p:nvSpPr>
        <p:spPr>
          <a:xfrm>
            <a:off x="5414665" y="4001899"/>
            <a:ext cx="11567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,331,401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84" name="文字方塊 83"/>
          <p:cNvSpPr txBox="1"/>
          <p:nvPr/>
        </p:nvSpPr>
        <p:spPr>
          <a:xfrm>
            <a:off x="7945826" y="5526772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,239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5674705" y="4276895"/>
            <a:ext cx="6367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77.7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8170300" y="5758352"/>
            <a:ext cx="5453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.2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89" name="文字方塊 88"/>
          <p:cNvSpPr txBox="1"/>
          <p:nvPr/>
        </p:nvSpPr>
        <p:spPr>
          <a:xfrm>
            <a:off x="7864574" y="6047526"/>
            <a:ext cx="11567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收到且有讀取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該標題 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DM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0" name="文字方塊 89"/>
          <p:cNvSpPr txBox="1"/>
          <p:nvPr/>
        </p:nvSpPr>
        <p:spPr>
          <a:xfrm>
            <a:off x="5414666" y="6047526"/>
            <a:ext cx="11567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未收到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該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標題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DM</a:t>
            </a:r>
            <a:endParaRPr lang="zh-TW" altLang="en-US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7" name="圓角化單一角落矩形 96"/>
          <p:cNvSpPr/>
          <p:nvPr/>
        </p:nvSpPr>
        <p:spPr bwMode="auto">
          <a:xfrm>
            <a:off x="5787953" y="1132332"/>
            <a:ext cx="3349027" cy="434073"/>
          </a:xfrm>
          <a:prstGeom prst="round1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889000"/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無信貸 </a:t>
            </a:r>
            <a:r>
              <a:rPr lang="en-US" altLang="zh-TW" b="1" dirty="0" err="1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Transactor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endParaRPr lang="en-US" altLang="zh-TW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r" defTabSz="889000"/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上個月讀取標題有「貸款」關鍵字</a:t>
            </a:r>
            <a:r>
              <a:rPr lang="zh-TW" altLang="en-US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 </a:t>
            </a:r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DM </a:t>
            </a:r>
            <a:r>
              <a:rPr lang="zh-TW" altLang="en-US" sz="1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量</a:t>
            </a:r>
            <a:endParaRPr lang="en-US" altLang="zh-TW" sz="1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37" name="群組 36"/>
          <p:cNvGrpSpPr/>
          <p:nvPr/>
        </p:nvGrpSpPr>
        <p:grpSpPr>
          <a:xfrm>
            <a:off x="5193571" y="1019256"/>
            <a:ext cx="648000" cy="648000"/>
            <a:chOff x="5193571" y="1019256"/>
            <a:chExt cx="648000" cy="648000"/>
          </a:xfrm>
        </p:grpSpPr>
        <p:sp>
          <p:nvSpPr>
            <p:cNvPr id="99" name="橢圓 98"/>
            <p:cNvSpPr/>
            <p:nvPr/>
          </p:nvSpPr>
          <p:spPr bwMode="auto">
            <a:xfrm>
              <a:off x="5193571" y="1019256"/>
              <a:ext cx="648000" cy="648000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rgbClr val="2D97A5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pic>
          <p:nvPicPr>
            <p:cNvPr id="36" name="Picture 3" descr="C:\Users\Z00044610\Downloads\email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8149" y="1073256"/>
              <a:ext cx="468000" cy="4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" name="矩形 103"/>
          <p:cNvSpPr/>
          <p:nvPr/>
        </p:nvSpPr>
        <p:spPr>
          <a:xfrm>
            <a:off x="6976896" y="5156575"/>
            <a:ext cx="473828" cy="883000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5" name="文字方塊 104"/>
          <p:cNvSpPr txBox="1"/>
          <p:nvPr/>
        </p:nvSpPr>
        <p:spPr>
          <a:xfrm>
            <a:off x="6716665" y="4883401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77,938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6" name="矩形 105"/>
          <p:cNvSpPr/>
          <p:nvPr/>
        </p:nvSpPr>
        <p:spPr>
          <a:xfrm>
            <a:off x="6895452" y="5169241"/>
            <a:ext cx="6367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2.1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107" name="文字方塊 106"/>
          <p:cNvSpPr txBox="1"/>
          <p:nvPr/>
        </p:nvSpPr>
        <p:spPr>
          <a:xfrm>
            <a:off x="6635413" y="6047790"/>
            <a:ext cx="11567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收到但未讀取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該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標題 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DM</a:t>
            </a:r>
            <a:endParaRPr lang="zh-TW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8" name="橢圓 107"/>
          <p:cNvSpPr/>
          <p:nvPr/>
        </p:nvSpPr>
        <p:spPr bwMode="auto">
          <a:xfrm>
            <a:off x="5673517" y="2809059"/>
            <a:ext cx="648000" cy="648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</a:t>
            </a:r>
            <a:r>
              <a:rPr kumimoji="0" lang="en-US" altLang="zh-TW" sz="12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.3%</a:t>
            </a:r>
            <a:endParaRPr kumimoji="0" lang="zh-TW" altLang="en-US" sz="12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9" name="橢圓 108"/>
          <p:cNvSpPr/>
          <p:nvPr/>
        </p:nvSpPr>
        <p:spPr bwMode="auto">
          <a:xfrm>
            <a:off x="6862619" y="2650039"/>
            <a:ext cx="648000" cy="648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</a:t>
            </a:r>
            <a:r>
              <a:rPr kumimoji="0" lang="en-US" altLang="zh-TW" sz="14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.5%</a:t>
            </a:r>
            <a:endParaRPr kumimoji="0" lang="zh-TW" altLang="en-US" sz="14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0" name="橢圓 109"/>
          <p:cNvSpPr/>
          <p:nvPr/>
        </p:nvSpPr>
        <p:spPr bwMode="auto">
          <a:xfrm>
            <a:off x="8123425" y="1896259"/>
            <a:ext cx="648000" cy="648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r>
              <a:rPr kumimoji="0" lang="en-US" altLang="zh-TW" sz="16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.2%</a:t>
            </a:r>
            <a:endParaRPr kumimoji="0" lang="zh-TW" altLang="en-US" sz="16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111" name="直線接點 110"/>
          <p:cNvCxnSpPr>
            <a:stCxn id="108" idx="6"/>
            <a:endCxn id="109" idx="2"/>
          </p:cNvCxnSpPr>
          <p:nvPr/>
        </p:nvCxnSpPr>
        <p:spPr bwMode="auto">
          <a:xfrm flipV="1">
            <a:off x="6321517" y="2974039"/>
            <a:ext cx="541102" cy="159020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2" name="直線接點 111"/>
          <p:cNvCxnSpPr>
            <a:stCxn id="109" idx="6"/>
            <a:endCxn id="110" idx="2"/>
          </p:cNvCxnSpPr>
          <p:nvPr/>
        </p:nvCxnSpPr>
        <p:spPr bwMode="auto">
          <a:xfrm flipV="1">
            <a:off x="7510619" y="2220259"/>
            <a:ext cx="612806" cy="753780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3" name="直線接點 112"/>
          <p:cNvCxnSpPr>
            <a:stCxn id="3" idx="2"/>
            <a:endCxn id="3" idx="0"/>
          </p:cNvCxnSpPr>
          <p:nvPr/>
        </p:nvCxnSpPr>
        <p:spPr bwMode="auto">
          <a:xfrm flipV="1">
            <a:off x="4953000" y="971550"/>
            <a:ext cx="0" cy="569595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矩形 40"/>
          <p:cNvSpPr/>
          <p:nvPr/>
        </p:nvSpPr>
        <p:spPr>
          <a:xfrm>
            <a:off x="5720924" y="1492692"/>
            <a:ext cx="3868341" cy="294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889000">
              <a:lnSpc>
                <a:spcPct val="150000"/>
              </a:lnSpc>
            </a:pP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關鍵字：月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付金、信貸優惠</a:t>
            </a:r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日</a:t>
            </a:r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付還不到、信貸日付、申請信貸</a:t>
            </a:r>
            <a:endParaRPr lang="zh-TW" alt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8" name="直線接點 7"/>
          <p:cNvCxnSpPr/>
          <p:nvPr/>
        </p:nvCxnSpPr>
        <p:spPr>
          <a:xfrm>
            <a:off x="709296" y="6035615"/>
            <a:ext cx="4005831" cy="0"/>
          </a:xfrm>
          <a:prstGeom prst="lin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  <a:prstDash val="solid"/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9" name="直線接點 78"/>
          <p:cNvCxnSpPr/>
          <p:nvPr/>
        </p:nvCxnSpPr>
        <p:spPr>
          <a:xfrm>
            <a:off x="5179251" y="6035351"/>
            <a:ext cx="4005831" cy="0"/>
          </a:xfrm>
          <a:prstGeom prst="lin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  <a:prstDash val="solid"/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7" name="投影片編號版面配置區 3"/>
          <p:cNvSpPr txBox="1">
            <a:spLocks/>
          </p:cNvSpPr>
          <p:nvPr/>
        </p:nvSpPr>
        <p:spPr>
          <a:xfrm>
            <a:off x="9345488" y="6381330"/>
            <a:ext cx="488504" cy="36512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DA0BB7-265A-403C-9275-D587AB510EDC}" type="slidenum">
              <a:rPr lang="zh-TW" altLang="en-US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6</a:t>
            </a:fld>
            <a:endParaRPr lang="zh-TW" alt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43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標題 1"/>
          <p:cNvSpPr txBox="1">
            <a:spLocks/>
          </p:cNvSpPr>
          <p:nvPr/>
        </p:nvSpPr>
        <p:spPr bwMode="auto">
          <a:xfrm>
            <a:off x="803082" y="209496"/>
            <a:ext cx="8364995" cy="505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+mj-cs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zh-TW" altLang="en-US" dirty="0" smtClean="0"/>
              <a:t> 廣</a:t>
            </a:r>
            <a:r>
              <a:rPr lang="zh-TW" altLang="en-US" dirty="0"/>
              <a:t>納新數據：探索外幣換匯行為</a:t>
            </a:r>
            <a:endParaRPr lang="zh-TW" altLang="en-US" kern="0" dirty="0"/>
          </a:p>
        </p:txBody>
      </p:sp>
      <p:sp>
        <p:nvSpPr>
          <p:cNvPr id="19" name="矩形 18"/>
          <p:cNvSpPr/>
          <p:nvPr/>
        </p:nvSpPr>
        <p:spPr bwMode="auto">
          <a:xfrm>
            <a:off x="0" y="781050"/>
            <a:ext cx="9906000" cy="6076950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" name="矩形 2"/>
          <p:cNvSpPr/>
          <p:nvPr/>
        </p:nvSpPr>
        <p:spPr bwMode="auto">
          <a:xfrm>
            <a:off x="204522" y="981075"/>
            <a:ext cx="9510978" cy="56959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2" name="矩形 7">
            <a:extLst>
              <a:ext uri="{FF2B5EF4-FFF2-40B4-BE49-F238E27FC236}">
                <a16:creationId xmlns="" xmlns:a16="http://schemas.microsoft.com/office/drawing/2014/main" id="{CB230E43-7A0C-48F0-9A2B-4A1B32A4DAEF}"/>
              </a:ext>
            </a:extLst>
          </p:cNvPr>
          <p:cNvSpPr/>
          <p:nvPr/>
        </p:nvSpPr>
        <p:spPr bwMode="auto">
          <a:xfrm>
            <a:off x="4922798" y="1461474"/>
            <a:ext cx="466012" cy="4342561"/>
          </a:xfrm>
          <a:custGeom>
            <a:avLst/>
            <a:gdLst>
              <a:gd name="connsiteX0" fmla="*/ 0 w 374983"/>
              <a:gd name="connsiteY0" fmla="*/ 0 h 4399130"/>
              <a:gd name="connsiteX1" fmla="*/ 374983 w 374983"/>
              <a:gd name="connsiteY1" fmla="*/ 0 h 4399130"/>
              <a:gd name="connsiteX2" fmla="*/ 374983 w 374983"/>
              <a:gd name="connsiteY2" fmla="*/ 4399130 h 4399130"/>
              <a:gd name="connsiteX3" fmla="*/ 0 w 374983"/>
              <a:gd name="connsiteY3" fmla="*/ 4399130 h 4399130"/>
              <a:gd name="connsiteX4" fmla="*/ 0 w 374983"/>
              <a:gd name="connsiteY4" fmla="*/ 0 h 4399130"/>
              <a:gd name="connsiteX0" fmla="*/ 0 w 570926"/>
              <a:gd name="connsiteY0" fmla="*/ 1792514 h 4399130"/>
              <a:gd name="connsiteX1" fmla="*/ 570926 w 570926"/>
              <a:gd name="connsiteY1" fmla="*/ 0 h 4399130"/>
              <a:gd name="connsiteX2" fmla="*/ 570926 w 570926"/>
              <a:gd name="connsiteY2" fmla="*/ 4399130 h 4399130"/>
              <a:gd name="connsiteX3" fmla="*/ 195943 w 570926"/>
              <a:gd name="connsiteY3" fmla="*/ 4399130 h 4399130"/>
              <a:gd name="connsiteX4" fmla="*/ 0 w 570926"/>
              <a:gd name="connsiteY4" fmla="*/ 1792514 h 4399130"/>
              <a:gd name="connsiteX0" fmla="*/ 0 w 570926"/>
              <a:gd name="connsiteY0" fmla="*/ 1792514 h 4399130"/>
              <a:gd name="connsiteX1" fmla="*/ 570926 w 570926"/>
              <a:gd name="connsiteY1" fmla="*/ 0 h 4399130"/>
              <a:gd name="connsiteX2" fmla="*/ 570926 w 570926"/>
              <a:gd name="connsiteY2" fmla="*/ 4399130 h 4399130"/>
              <a:gd name="connsiteX3" fmla="*/ 29029 w 570926"/>
              <a:gd name="connsiteY3" fmla="*/ 2773530 h 4399130"/>
              <a:gd name="connsiteX4" fmla="*/ 0 w 570926"/>
              <a:gd name="connsiteY4" fmla="*/ 1792514 h 4399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926" h="4399130">
                <a:moveTo>
                  <a:pt x="0" y="1792514"/>
                </a:moveTo>
                <a:lnTo>
                  <a:pt x="570926" y="0"/>
                </a:lnTo>
                <a:lnTo>
                  <a:pt x="570926" y="4399130"/>
                </a:lnTo>
                <a:lnTo>
                  <a:pt x="29029" y="2773530"/>
                </a:lnTo>
                <a:lnTo>
                  <a:pt x="0" y="1792514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alpha val="0"/>
                  <a:lumMod val="92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5" name="矩形 34"/>
          <p:cNvSpPr/>
          <p:nvPr/>
        </p:nvSpPr>
        <p:spPr bwMode="auto">
          <a:xfrm>
            <a:off x="204523" y="1754717"/>
            <a:ext cx="4748477" cy="18180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490" y="1808798"/>
            <a:ext cx="2143125" cy="214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橢圓 20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kumimoji="0" lang="en-US" altLang="zh-TW" sz="27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2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286194" y="3863707"/>
            <a:ext cx="473828" cy="2171908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2475297" y="5518195"/>
            <a:ext cx="473828" cy="521380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3736102" y="5804035"/>
            <a:ext cx="473828" cy="231580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400" dirty="0">
              <a:solidFill>
                <a:srgbClr val="FFFFFF"/>
              </a:solidFill>
              <a:latin typeface="Century Gothic" panose="020B05020202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1" name="文字方塊 10"/>
          <p:cNvSpPr txBox="1"/>
          <p:nvPr/>
        </p:nvSpPr>
        <p:spPr>
          <a:xfrm>
            <a:off x="944710" y="3572808"/>
            <a:ext cx="11471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,616,956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" name="文字方塊 11"/>
          <p:cNvSpPr txBox="1"/>
          <p:nvPr/>
        </p:nvSpPr>
        <p:spPr>
          <a:xfrm>
            <a:off x="2215066" y="5241196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6,304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3" name="文字方塊 12"/>
          <p:cNvSpPr txBox="1"/>
          <p:nvPr/>
        </p:nvSpPr>
        <p:spPr>
          <a:xfrm>
            <a:off x="3475871" y="5527036"/>
            <a:ext cx="994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9,318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人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204750" y="3863707"/>
            <a:ext cx="6367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94.4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439539" y="5527036"/>
            <a:ext cx="5453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.0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700345" y="5758616"/>
            <a:ext cx="5453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.6%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17" name="圓角化單一角落矩形 16"/>
          <p:cNvSpPr/>
          <p:nvPr/>
        </p:nvSpPr>
        <p:spPr bwMode="auto">
          <a:xfrm>
            <a:off x="1399419" y="1132332"/>
            <a:ext cx="3349027" cy="434073"/>
          </a:xfrm>
          <a:prstGeom prst="round1Rect">
            <a:avLst/>
          </a:prstGeom>
          <a:solidFill>
            <a:srgbClr val="2D97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889000"/>
            <a:r>
              <a:rPr lang="zh-TW" altLang="en-US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無信貸 </a:t>
            </a:r>
            <a:r>
              <a:rPr lang="en-US" altLang="zh-TW" b="1" dirty="0" err="1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Transactor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endParaRPr kumimoji="0" lang="en-US" altLang="zh-TW" sz="1400" b="1" i="0" u="none" strike="noStrike" cap="none" normalizeH="0" baseline="0" dirty="0" smtClean="0">
              <a:solidFill>
                <a:schemeClr val="bg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r" defTabSz="889000"/>
            <a:r>
              <a:rPr kumimoji="0" lang="zh-TW" altLang="en-US" sz="14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近 </a:t>
            </a:r>
            <a:r>
              <a:rPr kumimoji="0" lang="en-US" altLang="zh-TW" sz="14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12</a:t>
            </a:r>
            <a:r>
              <a:rPr kumimoji="0" lang="zh-TW" altLang="en-US" sz="14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 個月內線上換匯的次數</a:t>
            </a:r>
            <a:endParaRPr kumimoji="0" lang="en-US" altLang="zh-TW" sz="1400" b="1" i="0" u="none" strike="noStrike" cap="none" normalizeH="0" baseline="0" dirty="0" smtClean="0">
              <a:solidFill>
                <a:schemeClr val="bg1"/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" name="文字方塊 17"/>
          <p:cNvSpPr txBox="1"/>
          <p:nvPr/>
        </p:nvSpPr>
        <p:spPr>
          <a:xfrm>
            <a:off x="2133814" y="6047790"/>
            <a:ext cx="11567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線上換匯</a:t>
            </a:r>
            <a:endParaRPr lang="en-US" altLang="zh-TW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&lt;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次</a:t>
            </a:r>
          </a:p>
        </p:txBody>
      </p:sp>
      <p:sp>
        <p:nvSpPr>
          <p:cNvPr id="20" name="文字方塊 19"/>
          <p:cNvSpPr txBox="1"/>
          <p:nvPr/>
        </p:nvSpPr>
        <p:spPr>
          <a:xfrm>
            <a:off x="3394619" y="6047790"/>
            <a:ext cx="11567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線上換匯</a:t>
            </a:r>
            <a:endParaRPr lang="en-US" altLang="zh-TW" sz="1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&gt;=</a:t>
            </a:r>
            <a:r>
              <a:rPr lang="zh-TW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次</a:t>
            </a:r>
          </a:p>
        </p:txBody>
      </p:sp>
      <p:sp>
        <p:nvSpPr>
          <p:cNvPr id="22" name="文字方塊 21"/>
          <p:cNvSpPr txBox="1"/>
          <p:nvPr/>
        </p:nvSpPr>
        <p:spPr>
          <a:xfrm>
            <a:off x="944711" y="6047790"/>
            <a:ext cx="11567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無線上換匯</a:t>
            </a:r>
            <a:endParaRPr lang="zh-TW" altLang="en-US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" name="橢圓 25"/>
          <p:cNvSpPr/>
          <p:nvPr/>
        </p:nvSpPr>
        <p:spPr bwMode="auto">
          <a:xfrm>
            <a:off x="1199108" y="2796881"/>
            <a:ext cx="648000" cy="648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</a:t>
            </a:r>
            <a:r>
              <a:rPr kumimoji="0" lang="en-US" altLang="zh-TW" sz="12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.29%</a:t>
            </a:r>
            <a:endParaRPr kumimoji="0" lang="zh-TW" altLang="en-US" sz="12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橢圓 26"/>
          <p:cNvSpPr/>
          <p:nvPr/>
        </p:nvSpPr>
        <p:spPr bwMode="auto">
          <a:xfrm>
            <a:off x="2388210" y="2319821"/>
            <a:ext cx="648000" cy="648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</a:t>
            </a:r>
            <a:r>
              <a:rPr kumimoji="0" lang="en-US" altLang="zh-TW" sz="14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.58%</a:t>
            </a:r>
            <a:endParaRPr kumimoji="0" lang="zh-TW" altLang="en-US" sz="14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" name="橢圓 27"/>
          <p:cNvSpPr/>
          <p:nvPr/>
        </p:nvSpPr>
        <p:spPr bwMode="auto">
          <a:xfrm>
            <a:off x="3649016" y="1896259"/>
            <a:ext cx="648000" cy="648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2D97A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en-US" altLang="zh-TW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</a:t>
            </a:r>
            <a:r>
              <a:rPr kumimoji="0" lang="en-US" altLang="zh-TW" sz="16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rPr>
              <a:t>.88%</a:t>
            </a:r>
            <a:endParaRPr kumimoji="0" lang="zh-TW" altLang="en-US" sz="1600" b="1" i="0" u="none" strike="noStrike" cap="none" normalizeH="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9" name="文字方塊 28"/>
          <p:cNvSpPr txBox="1"/>
          <p:nvPr/>
        </p:nvSpPr>
        <p:spPr>
          <a:xfrm>
            <a:off x="403845" y="2043656"/>
            <a:ext cx="4488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400" b="1" dirty="0" smtClean="0">
                <a:solidFill>
                  <a:schemeClr val="bg1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</a:t>
            </a:r>
          </a:p>
        </p:txBody>
      </p:sp>
      <p:sp>
        <p:nvSpPr>
          <p:cNvPr id="30" name="文字方塊 29"/>
          <p:cNvSpPr txBox="1"/>
          <p:nvPr/>
        </p:nvSpPr>
        <p:spPr>
          <a:xfrm>
            <a:off x="403845" y="4349496"/>
            <a:ext cx="4488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400" b="1" dirty="0" smtClean="0">
                <a:solidFill>
                  <a:schemeClr val="bg1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戶數</a:t>
            </a:r>
          </a:p>
        </p:txBody>
      </p:sp>
      <p:cxnSp>
        <p:nvCxnSpPr>
          <p:cNvPr id="31" name="直線接點 30"/>
          <p:cNvCxnSpPr>
            <a:stCxn id="26" idx="6"/>
            <a:endCxn id="27" idx="2"/>
          </p:cNvCxnSpPr>
          <p:nvPr/>
        </p:nvCxnSpPr>
        <p:spPr bwMode="auto">
          <a:xfrm flipV="1">
            <a:off x="1847108" y="2643821"/>
            <a:ext cx="541102" cy="477060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直線接點 31"/>
          <p:cNvCxnSpPr>
            <a:stCxn id="27" idx="6"/>
            <a:endCxn id="28" idx="2"/>
          </p:cNvCxnSpPr>
          <p:nvPr/>
        </p:nvCxnSpPr>
        <p:spPr bwMode="auto">
          <a:xfrm flipV="1">
            <a:off x="3036210" y="2220259"/>
            <a:ext cx="612806" cy="423562"/>
          </a:xfrm>
          <a:prstGeom prst="line">
            <a:avLst/>
          </a:prstGeom>
          <a:noFill/>
          <a:ln w="12700" cap="flat" cmpd="sng" algn="ctr">
            <a:solidFill>
              <a:srgbClr val="2D97A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直線接點 32"/>
          <p:cNvCxnSpPr/>
          <p:nvPr/>
        </p:nvCxnSpPr>
        <p:spPr bwMode="auto">
          <a:xfrm flipV="1">
            <a:off x="4953000" y="971550"/>
            <a:ext cx="0" cy="569595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" name="群組 3"/>
          <p:cNvGrpSpPr/>
          <p:nvPr/>
        </p:nvGrpSpPr>
        <p:grpSpPr>
          <a:xfrm>
            <a:off x="805037" y="1019256"/>
            <a:ext cx="648000" cy="648000"/>
            <a:chOff x="805037" y="1019256"/>
            <a:chExt cx="648000" cy="648000"/>
          </a:xfrm>
        </p:grpSpPr>
        <p:sp>
          <p:nvSpPr>
            <p:cNvPr id="24" name="橢圓 23"/>
            <p:cNvSpPr/>
            <p:nvPr/>
          </p:nvSpPr>
          <p:spPr bwMode="auto">
            <a:xfrm>
              <a:off x="805037" y="1019256"/>
              <a:ext cx="648000" cy="648000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rgbClr val="2D97A5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89000" rtl="0" eaLnBrk="1" fontAlgn="base" latinLnBrk="0" hangingPunct="1"/>
              <a:endParaRPr kumimoji="0" lang="zh-TW" altLang="en-US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pic>
          <p:nvPicPr>
            <p:cNvPr id="45058" name="Picture 2" descr="C:\Users\Z00044610\Downloads\currency-exchang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5037" y="1109256"/>
              <a:ext cx="468000" cy="4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3922400"/>
              </p:ext>
            </p:extLst>
          </p:nvPr>
        </p:nvGraphicFramePr>
        <p:xfrm>
          <a:off x="5501144" y="3457780"/>
          <a:ext cx="4015932" cy="18288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003983"/>
                <a:gridCol w="1003983"/>
                <a:gridCol w="1003983"/>
                <a:gridCol w="1003983"/>
              </a:tblGrid>
              <a:tr h="369392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20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職業 </a:t>
                      </a:r>
                      <a:r>
                        <a:rPr lang="en-US" altLang="zh-TW" sz="120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lang="zh-TW" altLang="en-US" sz="120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行業</a:t>
                      </a:r>
                      <a:endParaRPr lang="zh-TW" altLang="en-US" sz="1200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200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無線上換匯</a:t>
                      </a:r>
                      <a:endParaRPr lang="zh-TW" altLang="en-US" sz="1200" dirty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2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線上換匯</a:t>
                      </a:r>
                      <a:endParaRPr lang="en-US" altLang="zh-TW" sz="12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/>
                      <a:r>
                        <a:rPr lang="en-US" altLang="zh-TW" sz="12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lt;</a:t>
                      </a:r>
                      <a:r>
                        <a:rPr lang="zh-TW" altLang="en-US" sz="12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2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2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2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線上換匯</a:t>
                      </a:r>
                      <a:endParaRPr lang="en-US" altLang="zh-TW" sz="1200" b="1" dirty="0" smtClean="0">
                        <a:solidFill>
                          <a:schemeClr val="bg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/>
                      <a:r>
                        <a:rPr lang="en-US" altLang="zh-TW" sz="12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gt;=</a:t>
                      </a:r>
                      <a:r>
                        <a:rPr lang="zh-TW" altLang="en-US" sz="12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2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200" b="1" dirty="0" smtClean="0">
                          <a:solidFill>
                            <a:schemeClr val="bg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99"/>
                    </a:solidFill>
                  </a:tcPr>
                </a:tc>
              </a:tr>
              <a:tr h="256500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公務員</a:t>
                      </a:r>
                      <a:endParaRPr lang="zh-TW" altLang="en-US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7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500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校長</a:t>
                      </a:r>
                      <a:endParaRPr lang="zh-TW" altLang="en-US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6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6500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自由業主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9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.1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.2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56500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進出口</a:t>
                      </a:r>
                      <a:endParaRPr lang="en-US" altLang="zh-TW" sz="12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/>
                      <a:r>
                        <a:rPr lang="zh-TW" altLang="en-US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貿易業</a:t>
                      </a:r>
                      <a:endParaRPr lang="zh-TW" altLang="en-US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0.6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1.0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TW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2.0%</a:t>
                      </a:r>
                      <a:endParaRPr lang="zh-TW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8" name="矩形 37"/>
          <p:cNvSpPr/>
          <p:nvPr/>
        </p:nvSpPr>
        <p:spPr bwMode="auto">
          <a:xfrm>
            <a:off x="7515287" y="4519824"/>
            <a:ext cx="2001789" cy="766756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5420748" y="2019707"/>
            <a:ext cx="41890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穩定度較低的職業 </a:t>
            </a:r>
            <a:r>
              <a:rPr lang="en-US" altLang="zh-TW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 </a:t>
            </a:r>
            <a:r>
              <a:rPr lang="zh-TW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如：自由業主 </a:t>
            </a:r>
            <a:r>
              <a:rPr lang="en-US" altLang="zh-TW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 </a:t>
            </a:r>
            <a:r>
              <a:rPr lang="zh-TW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或從事</a:t>
            </a:r>
            <a:r>
              <a:rPr lang="zh-TW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出口</a:t>
            </a:r>
            <a:r>
              <a:rPr lang="zh-TW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貿易的客戶，若線上換匯次數越頻繁，其信貸需求率則越明顯相關，故推論此類客戶有海內外生意需求，可能有現金周轉的需求，故其信貸需求率較高。</a:t>
            </a:r>
            <a:endParaRPr lang="en-US" altLang="zh-TW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8" name="直線接點 7"/>
          <p:cNvCxnSpPr/>
          <p:nvPr/>
        </p:nvCxnSpPr>
        <p:spPr>
          <a:xfrm>
            <a:off x="709296" y="6035615"/>
            <a:ext cx="4005831" cy="0"/>
          </a:xfrm>
          <a:prstGeom prst="lin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  <a:prstDash val="solid"/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" name="文字方塊 5"/>
          <p:cNvSpPr txBox="1"/>
          <p:nvPr/>
        </p:nvSpPr>
        <p:spPr>
          <a:xfrm>
            <a:off x="5388810" y="1461474"/>
            <a:ext cx="3164619" cy="338554"/>
          </a:xfrm>
          <a:prstGeom prst="rect">
            <a:avLst/>
          </a:prstGeom>
          <a:solidFill>
            <a:srgbClr val="2D97A5"/>
          </a:solidFill>
        </p:spPr>
        <p:txBody>
          <a:bodyPr wrap="square" rtlCol="0">
            <a:spAutoFit/>
          </a:bodyPr>
          <a:lstStyle/>
          <a:p>
            <a:r>
              <a:rPr lang="zh-TW" altLang="en-US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職業行業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x </a:t>
            </a:r>
            <a:r>
              <a:rPr lang="zh-TW" altLang="en-US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線上換匯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x </a:t>
            </a:r>
            <a:r>
              <a:rPr lang="zh-TW" altLang="en-US" sz="16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 </a:t>
            </a:r>
            <a:endParaRPr lang="zh-TW" altLang="en-US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3" name="矩形 22"/>
          <p:cNvSpPr/>
          <p:nvPr/>
        </p:nvSpPr>
        <p:spPr bwMode="auto">
          <a:xfrm>
            <a:off x="5388810" y="1472437"/>
            <a:ext cx="4221016" cy="4331597"/>
          </a:xfrm>
          <a:prstGeom prst="rect">
            <a:avLst/>
          </a:prstGeom>
          <a:noFill/>
          <a:ln w="38100" cap="flat" cmpd="sng" algn="ctr">
            <a:solidFill>
              <a:srgbClr val="0099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9" name="投影片編號版面配置區 3"/>
          <p:cNvSpPr txBox="1">
            <a:spLocks/>
          </p:cNvSpPr>
          <p:nvPr/>
        </p:nvSpPr>
        <p:spPr>
          <a:xfrm>
            <a:off x="9345488" y="6381330"/>
            <a:ext cx="488504" cy="36512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DA0BB7-265A-403C-9275-D587AB510EDC}" type="slidenum">
              <a:rPr lang="zh-TW" altLang="en-US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7</a:t>
            </a:fld>
            <a:endParaRPr lang="zh-TW" alt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038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標題 1"/>
          <p:cNvSpPr txBox="1">
            <a:spLocks/>
          </p:cNvSpPr>
          <p:nvPr/>
        </p:nvSpPr>
        <p:spPr bwMode="auto">
          <a:xfrm>
            <a:off x="803082" y="209496"/>
            <a:ext cx="8364995" cy="505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+mj-cs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zh-TW" altLang="en-US" dirty="0" smtClean="0"/>
              <a:t> 模型</a:t>
            </a:r>
            <a:r>
              <a:rPr lang="zh-TW" altLang="en-US" dirty="0"/>
              <a:t>集成學習：專注於將有需求的客戶往高分區移動</a:t>
            </a:r>
            <a:endParaRPr lang="zh-TW" altLang="en-US" kern="0" dirty="0"/>
          </a:p>
        </p:txBody>
      </p:sp>
      <p:sp>
        <p:nvSpPr>
          <p:cNvPr id="373" name="橢圓 372"/>
          <p:cNvSpPr/>
          <p:nvPr/>
        </p:nvSpPr>
        <p:spPr bwMode="auto">
          <a:xfrm>
            <a:off x="204522" y="208642"/>
            <a:ext cx="490803" cy="50522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r>
              <a:rPr lang="en-US" altLang="zh-TW" sz="2700" b="1" dirty="0"/>
              <a:t>3</a:t>
            </a:r>
            <a:endParaRPr kumimoji="0" lang="zh-TW" altLang="en-US" sz="27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" name="矩形 3"/>
          <p:cNvSpPr/>
          <p:nvPr/>
        </p:nvSpPr>
        <p:spPr bwMode="auto">
          <a:xfrm>
            <a:off x="-761" y="781050"/>
            <a:ext cx="9906000" cy="6076950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9957264"/>
              </p:ext>
            </p:extLst>
          </p:nvPr>
        </p:nvGraphicFramePr>
        <p:xfrm>
          <a:off x="204951" y="843968"/>
          <a:ext cx="9018550" cy="1618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3710"/>
                <a:gridCol w="1803710"/>
                <a:gridCol w="1803710"/>
                <a:gridCol w="1803710"/>
                <a:gridCol w="1803710"/>
              </a:tblGrid>
              <a:tr h="32101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prstClr val="white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既有模型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prstClr val="white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演算法調整</a:t>
                      </a:r>
                      <a:endParaRPr lang="zh-TW" altLang="en-US" sz="16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prstClr val="white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巢狀模型結構</a:t>
                      </a:r>
                      <a:endParaRPr lang="zh-TW" altLang="en-US" sz="1600" b="1" dirty="0">
                        <a:solidFill>
                          <a:prstClr val="white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1" dirty="0" smtClean="0">
                          <a:solidFill>
                            <a:prstClr val="white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變數權重調整</a:t>
                      </a:r>
                      <a:endParaRPr lang="zh-TW" altLang="en-US" sz="1600" b="1" dirty="0">
                        <a:solidFill>
                          <a:prstClr val="white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1" dirty="0" smtClean="0">
                          <a:solidFill>
                            <a:prstClr val="white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並聯模型結構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1283016"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80" name="直線接點 79"/>
          <p:cNvCxnSpPr/>
          <p:nvPr/>
        </p:nvCxnSpPr>
        <p:spPr bwMode="auto">
          <a:xfrm flipH="1">
            <a:off x="-2037633" y="7651631"/>
            <a:ext cx="9004536" cy="0"/>
          </a:xfrm>
          <a:prstGeom prst="line">
            <a:avLst/>
          </a:prstGeom>
          <a:noFill/>
          <a:ln w="381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4" name="Picture 2" descr="C:\Users\Z00044610\Downloads\knowledg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930" y="1515660"/>
            <a:ext cx="648231" cy="648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矩形 114"/>
          <p:cNvSpPr/>
          <p:nvPr/>
        </p:nvSpPr>
        <p:spPr>
          <a:xfrm>
            <a:off x="906253" y="1639785"/>
            <a:ext cx="106631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/>
            <a:r>
              <a:rPr lang="zh-TW" altLang="en-US"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貸需求模型 </a:t>
            </a:r>
            <a:endParaRPr lang="en-US" altLang="zh-TW" sz="1100" b="1" dirty="0" smtClean="0">
              <a:solidFill>
                <a:prstClr val="black">
                  <a:lumMod val="75000"/>
                  <a:lumOff val="2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fontAlgn="auto"/>
            <a:r>
              <a:rPr lang="en-US" altLang="zh-TW" sz="11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v </a:t>
            </a:r>
            <a:r>
              <a:rPr lang="en-US" altLang="zh-TW"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0</a:t>
            </a:r>
            <a:endParaRPr lang="zh-TW" altLang="en-US" sz="1100" b="1" dirty="0">
              <a:solidFill>
                <a:prstClr val="black">
                  <a:lumMod val="75000"/>
                  <a:lumOff val="2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16" name="群組 115"/>
          <p:cNvGrpSpPr/>
          <p:nvPr/>
        </p:nvGrpSpPr>
        <p:grpSpPr>
          <a:xfrm>
            <a:off x="2075497" y="1399003"/>
            <a:ext cx="1670993" cy="864315"/>
            <a:chOff x="354317" y="5495729"/>
            <a:chExt cx="3562013" cy="1651465"/>
          </a:xfrm>
        </p:grpSpPr>
        <p:grpSp>
          <p:nvGrpSpPr>
            <p:cNvPr id="117" name="群組 116"/>
            <p:cNvGrpSpPr/>
            <p:nvPr/>
          </p:nvGrpSpPr>
          <p:grpSpPr>
            <a:xfrm>
              <a:off x="541992" y="5517232"/>
              <a:ext cx="3332371" cy="1103513"/>
              <a:chOff x="3060789" y="5516657"/>
              <a:chExt cx="3332371" cy="1103513"/>
            </a:xfrm>
          </p:grpSpPr>
          <p:sp>
            <p:nvSpPr>
              <p:cNvPr id="122" name="手繪多邊形 121"/>
              <p:cNvSpPr/>
              <p:nvPr/>
            </p:nvSpPr>
            <p:spPr>
              <a:xfrm>
                <a:off x="3842858" y="5516657"/>
                <a:ext cx="2264735" cy="1096794"/>
              </a:xfrm>
              <a:custGeom>
                <a:avLst/>
                <a:gdLst>
                  <a:gd name="connsiteX0" fmla="*/ 0 w 2264735"/>
                  <a:gd name="connsiteY0" fmla="*/ 1096794 h 1096794"/>
                  <a:gd name="connsiteX1" fmla="*/ 404037 w 2264735"/>
                  <a:gd name="connsiteY1" fmla="*/ 1641 h 1096794"/>
                  <a:gd name="connsiteX2" fmla="*/ 1222744 w 2264735"/>
                  <a:gd name="connsiteY2" fmla="*/ 852245 h 1096794"/>
                  <a:gd name="connsiteX3" fmla="*/ 1754372 w 2264735"/>
                  <a:gd name="connsiteY3" fmla="*/ 969203 h 1096794"/>
                  <a:gd name="connsiteX4" fmla="*/ 2264735 w 2264735"/>
                  <a:gd name="connsiteY4" fmla="*/ 979836 h 1096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4735" h="1096794">
                    <a:moveTo>
                      <a:pt x="0" y="1096794"/>
                    </a:moveTo>
                    <a:cubicBezTo>
                      <a:pt x="100123" y="569596"/>
                      <a:pt x="200246" y="42399"/>
                      <a:pt x="404037" y="1641"/>
                    </a:cubicBezTo>
                    <a:cubicBezTo>
                      <a:pt x="607828" y="-39117"/>
                      <a:pt x="997688" y="690985"/>
                      <a:pt x="1222744" y="852245"/>
                    </a:cubicBezTo>
                    <a:cubicBezTo>
                      <a:pt x="1447800" y="1013505"/>
                      <a:pt x="1580707" y="947938"/>
                      <a:pt x="1754372" y="969203"/>
                    </a:cubicBezTo>
                    <a:cubicBezTo>
                      <a:pt x="1928037" y="990468"/>
                      <a:pt x="2096386" y="985152"/>
                      <a:pt x="2264735" y="979836"/>
                    </a:cubicBezTo>
                  </a:path>
                </a:pathLst>
              </a:custGeom>
              <a:noFill/>
              <a:ln w="25400" cap="flat" cmpd="sng" algn="ctr">
                <a:solidFill>
                  <a:srgbClr val="AAC9B0">
                    <a:lumMod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fontAlgn="auto">
                  <a:defRPr/>
                </a:pPr>
                <a:endParaRPr lang="zh-TW" altLang="en-US" sz="1800" kern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3" name="手繪多邊形 122"/>
              <p:cNvSpPr/>
              <p:nvPr/>
            </p:nvSpPr>
            <p:spPr>
              <a:xfrm>
                <a:off x="3519377" y="5744934"/>
                <a:ext cx="2649958" cy="875236"/>
              </a:xfrm>
              <a:custGeom>
                <a:avLst/>
                <a:gdLst>
                  <a:gd name="connsiteX0" fmla="*/ 0 w 2649958"/>
                  <a:gd name="connsiteY0" fmla="*/ 868517 h 875236"/>
                  <a:gd name="connsiteX1" fmla="*/ 318976 w 2649958"/>
                  <a:gd name="connsiteY1" fmla="*/ 7280 h 875236"/>
                  <a:gd name="connsiteX2" fmla="*/ 1158949 w 2649958"/>
                  <a:gd name="connsiteY2" fmla="*/ 475113 h 875236"/>
                  <a:gd name="connsiteX3" fmla="*/ 2009553 w 2649958"/>
                  <a:gd name="connsiteY3" fmla="*/ 836619 h 875236"/>
                  <a:gd name="connsiteX4" fmla="*/ 2604976 w 2649958"/>
                  <a:gd name="connsiteY4" fmla="*/ 868517 h 875236"/>
                  <a:gd name="connsiteX5" fmla="*/ 2562446 w 2649958"/>
                  <a:gd name="connsiteY5" fmla="*/ 868517 h 875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49958" h="875236">
                    <a:moveTo>
                      <a:pt x="0" y="868517"/>
                    </a:moveTo>
                    <a:cubicBezTo>
                      <a:pt x="62909" y="470682"/>
                      <a:pt x="125818" y="72847"/>
                      <a:pt x="318976" y="7280"/>
                    </a:cubicBezTo>
                    <a:cubicBezTo>
                      <a:pt x="512134" y="-58287"/>
                      <a:pt x="877186" y="336890"/>
                      <a:pt x="1158949" y="475113"/>
                    </a:cubicBezTo>
                    <a:cubicBezTo>
                      <a:pt x="1440712" y="613336"/>
                      <a:pt x="1768549" y="771052"/>
                      <a:pt x="2009553" y="836619"/>
                    </a:cubicBezTo>
                    <a:cubicBezTo>
                      <a:pt x="2250558" y="902186"/>
                      <a:pt x="2512827" y="863201"/>
                      <a:pt x="2604976" y="868517"/>
                    </a:cubicBezTo>
                    <a:cubicBezTo>
                      <a:pt x="2697125" y="873833"/>
                      <a:pt x="2629785" y="871175"/>
                      <a:pt x="2562446" y="868517"/>
                    </a:cubicBezTo>
                  </a:path>
                </a:pathLst>
              </a:custGeom>
              <a:noFill/>
              <a:ln w="25400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fontAlgn="auto">
                  <a:defRPr/>
                </a:pPr>
                <a:endParaRPr lang="zh-TW" altLang="en-US" sz="1800" kern="0" smtClean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24" name="直線接點 123"/>
              <p:cNvCxnSpPr/>
              <p:nvPr/>
            </p:nvCxnSpPr>
            <p:spPr>
              <a:xfrm>
                <a:off x="3060789" y="6613451"/>
                <a:ext cx="3332371" cy="6719"/>
              </a:xfrm>
              <a:prstGeom prst="line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  <p:sp>
          <p:nvSpPr>
            <p:cNvPr id="118" name="文字方塊 117"/>
            <p:cNvSpPr txBox="1"/>
            <p:nvPr/>
          </p:nvSpPr>
          <p:spPr>
            <a:xfrm>
              <a:off x="2339481" y="5495729"/>
              <a:ext cx="1104401" cy="529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fontAlgn="auto">
                <a:defRPr/>
              </a:pPr>
              <a:r>
                <a:rPr lang="en-US" altLang="zh-TW" sz="1200" b="1" kern="0" dirty="0" smtClean="0">
                  <a:solidFill>
                    <a:srgbClr val="008080"/>
                  </a:solidFill>
                </a:rPr>
                <a:t>XGB</a:t>
              </a:r>
              <a:endParaRPr lang="zh-TW" altLang="en-US" sz="1200" b="1" kern="0" dirty="0" smtClean="0">
                <a:solidFill>
                  <a:srgbClr val="008080"/>
                </a:solidFill>
              </a:endParaRPr>
            </a:p>
          </p:txBody>
        </p:sp>
        <p:sp>
          <p:nvSpPr>
            <p:cNvPr id="119" name="文字方塊 118"/>
            <p:cNvSpPr txBox="1"/>
            <p:nvPr/>
          </p:nvSpPr>
          <p:spPr>
            <a:xfrm>
              <a:off x="2555648" y="6617926"/>
              <a:ext cx="1360682" cy="529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fontAlgn="auto">
                <a:defRPr/>
              </a:pPr>
              <a:r>
                <a:rPr lang="en-US" altLang="zh-TW" sz="1200" b="1" kern="0" dirty="0" smtClean="0">
                  <a:solidFill>
                    <a:srgbClr val="0F6FC6"/>
                  </a:solidFill>
                </a:rPr>
                <a:t>LGBM</a:t>
              </a:r>
              <a:endParaRPr lang="zh-TW" altLang="en-US" b="1" kern="0" dirty="0" smtClean="0">
                <a:solidFill>
                  <a:srgbClr val="0F6FC6"/>
                </a:solidFill>
              </a:endParaRPr>
            </a:p>
          </p:txBody>
        </p:sp>
        <p:sp>
          <p:nvSpPr>
            <p:cNvPr id="120" name="文字方塊 119"/>
            <p:cNvSpPr txBox="1"/>
            <p:nvPr/>
          </p:nvSpPr>
          <p:spPr>
            <a:xfrm>
              <a:off x="354317" y="5714835"/>
              <a:ext cx="721687" cy="666484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pPr algn="l" fontAlgn="auto"/>
              <a:r>
                <a:rPr lang="zh-TW" altLang="en-US" sz="10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人數</a:t>
              </a:r>
              <a:endParaRPr lang="zh-TW" altLang="en-US" sz="105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21" name="文字方塊 120"/>
            <p:cNvSpPr txBox="1"/>
            <p:nvPr/>
          </p:nvSpPr>
          <p:spPr>
            <a:xfrm>
              <a:off x="1522858" y="6656622"/>
              <a:ext cx="1213747" cy="4704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fontAlgn="auto"/>
              <a:r>
                <a:rPr lang="zh-TW" altLang="en-US" sz="10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需求率</a:t>
              </a:r>
              <a:endParaRPr lang="zh-TW" altLang="en-US" sz="10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12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7305" y="1373659"/>
            <a:ext cx="1360132" cy="953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6" name="矩形 125"/>
          <p:cNvSpPr/>
          <p:nvPr/>
        </p:nvSpPr>
        <p:spPr>
          <a:xfrm>
            <a:off x="3922496" y="1568031"/>
            <a:ext cx="64807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 hangingPunct="0"/>
            <a:r>
              <a:rPr lang="zh-TW" altLang="en-US" sz="11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模型 </a:t>
            </a:r>
            <a:r>
              <a:rPr lang="en-US" altLang="zh-TW" sz="11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1</a:t>
            </a:r>
            <a:endParaRPr lang="en-US" altLang="zh-TW" sz="1100" b="1" kern="0" dirty="0">
              <a:solidFill>
                <a:prstClr val="black">
                  <a:lumMod val="75000"/>
                  <a:lumOff val="2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Calibri"/>
            </a:endParaRPr>
          </a:p>
        </p:txBody>
      </p:sp>
      <p:cxnSp>
        <p:nvCxnSpPr>
          <p:cNvPr id="127" name="肘形接點 126"/>
          <p:cNvCxnSpPr>
            <a:stCxn id="129" idx="3"/>
          </p:cNvCxnSpPr>
          <p:nvPr/>
        </p:nvCxnSpPr>
        <p:spPr>
          <a:xfrm flipV="1">
            <a:off x="4439645" y="1303540"/>
            <a:ext cx="421920" cy="160229"/>
          </a:xfrm>
          <a:prstGeom prst="bentConnector3">
            <a:avLst>
              <a:gd name="adj1" fmla="val 50000"/>
            </a:avLst>
          </a:prstGeom>
          <a:ln w="12700">
            <a:tailEnd type="oval" w="sm" len="sm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28" name="肘形接點 127"/>
          <p:cNvCxnSpPr>
            <a:endCxn id="131" idx="1"/>
          </p:cNvCxnSpPr>
          <p:nvPr/>
        </p:nvCxnSpPr>
        <p:spPr>
          <a:xfrm>
            <a:off x="4650604" y="1463767"/>
            <a:ext cx="236762" cy="216756"/>
          </a:xfrm>
          <a:prstGeom prst="bentConnector3">
            <a:avLst>
              <a:gd name="adj1" fmla="val 50000"/>
            </a:avLst>
          </a:prstGeom>
          <a:ln w="12700">
            <a:tailEnd type="oval" w="sm" len="sm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29" name="Picture 4" descr="ãmodel machine learning iconãçåçæå°çµæ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3420" y="1282846"/>
            <a:ext cx="386225" cy="361846"/>
          </a:xfrm>
          <a:prstGeom prst="rect">
            <a:avLst/>
          </a:prstGeom>
          <a:noFill/>
          <a:extLst/>
        </p:spPr>
      </p:pic>
      <p:sp>
        <p:nvSpPr>
          <p:cNvPr id="130" name="矩形 129"/>
          <p:cNvSpPr/>
          <p:nvPr/>
        </p:nvSpPr>
        <p:spPr>
          <a:xfrm>
            <a:off x="4887365" y="1180647"/>
            <a:ext cx="70549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 hangingPunct="0"/>
            <a:r>
              <a:rPr lang="zh-TW" altLang="en-US" sz="1000" b="1" kern="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高分族群</a:t>
            </a:r>
            <a:endParaRPr lang="en-US" altLang="zh-TW" sz="1000" b="1" kern="0" dirty="0">
              <a:solidFill>
                <a:prstClr val="black">
                  <a:lumMod val="85000"/>
                  <a:lumOff val="1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Calibri"/>
            </a:endParaRPr>
          </a:p>
        </p:txBody>
      </p:sp>
      <p:sp>
        <p:nvSpPr>
          <p:cNvPr id="131" name="矩形 130"/>
          <p:cNvSpPr/>
          <p:nvPr/>
        </p:nvSpPr>
        <p:spPr>
          <a:xfrm>
            <a:off x="4887366" y="1557412"/>
            <a:ext cx="7054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 hangingPunct="0"/>
            <a:r>
              <a:rPr lang="zh-TW" altLang="en-US" sz="1000" b="1" kern="0" dirty="0">
                <a:solidFill>
                  <a:srgbClr val="4F81BD">
                    <a:lumMod val="7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低</a:t>
            </a:r>
            <a:r>
              <a:rPr lang="zh-TW" altLang="en-US" sz="1000" b="1" kern="0" dirty="0" smtClean="0">
                <a:solidFill>
                  <a:srgbClr val="4F81BD">
                    <a:lumMod val="7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需求群</a:t>
            </a:r>
            <a:endParaRPr lang="en-US" altLang="zh-TW" sz="1000" b="1" kern="0" dirty="0">
              <a:solidFill>
                <a:srgbClr val="4F81BD">
                  <a:lumMod val="75000"/>
                </a:srgbClr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Calibri"/>
            </a:endParaRPr>
          </a:p>
        </p:txBody>
      </p:sp>
      <p:pic>
        <p:nvPicPr>
          <p:cNvPr id="132" name="Picture 8" descr="ãmodel machine learning iconãçåçæå°çµæ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3664" y="1958581"/>
            <a:ext cx="281906" cy="264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3" name="直線單箭頭接點 132"/>
          <p:cNvCxnSpPr/>
          <p:nvPr/>
        </p:nvCxnSpPr>
        <p:spPr>
          <a:xfrm>
            <a:off x="5208200" y="1763389"/>
            <a:ext cx="0" cy="138968"/>
          </a:xfrm>
          <a:prstGeom prst="straightConnector1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矩形 133"/>
          <p:cNvSpPr/>
          <p:nvPr/>
        </p:nvSpPr>
        <p:spPr>
          <a:xfrm>
            <a:off x="4892115" y="2228478"/>
            <a:ext cx="64807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 hangingPunct="0"/>
            <a:r>
              <a:rPr lang="zh-TW" altLang="en-US" sz="11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模型 </a:t>
            </a:r>
            <a:r>
              <a:rPr lang="en-US" altLang="zh-TW" sz="11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2</a:t>
            </a:r>
            <a:endParaRPr lang="en-US" altLang="zh-TW" sz="1100" b="1" kern="0" dirty="0">
              <a:solidFill>
                <a:prstClr val="black">
                  <a:lumMod val="75000"/>
                  <a:lumOff val="2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Calibri"/>
            </a:endParaRPr>
          </a:p>
        </p:txBody>
      </p:sp>
      <p:sp>
        <p:nvSpPr>
          <p:cNvPr id="135" name="矩形 134"/>
          <p:cNvSpPr/>
          <p:nvPr/>
        </p:nvSpPr>
        <p:spPr>
          <a:xfrm>
            <a:off x="3829098" y="1835752"/>
            <a:ext cx="77818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 hangingPunct="0"/>
            <a:r>
              <a:rPr lang="zh-TW" altLang="en-US" sz="1000" b="1" kern="0" dirty="0" smtClean="0">
                <a:solidFill>
                  <a:srgbClr val="4F81BD">
                    <a:lumMod val="7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高</a:t>
            </a:r>
            <a:r>
              <a:rPr lang="zh-TW" altLang="en-US" sz="1000" b="1" kern="0" dirty="0">
                <a:solidFill>
                  <a:srgbClr val="4F81BD">
                    <a:lumMod val="7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分族群</a:t>
            </a:r>
            <a:endParaRPr lang="en-US" altLang="zh-TW" sz="1000" b="1" kern="0" dirty="0">
              <a:solidFill>
                <a:srgbClr val="4F81BD">
                  <a:lumMod val="75000"/>
                </a:srgbClr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Calibri"/>
            </a:endParaRPr>
          </a:p>
        </p:txBody>
      </p:sp>
      <p:sp>
        <p:nvSpPr>
          <p:cNvPr id="136" name="矩形 135"/>
          <p:cNvSpPr/>
          <p:nvPr/>
        </p:nvSpPr>
        <p:spPr>
          <a:xfrm>
            <a:off x="3829098" y="2212517"/>
            <a:ext cx="77584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 hangingPunct="0"/>
            <a:r>
              <a:rPr lang="zh-TW" altLang="en-US" sz="1000" b="1" kern="0" dirty="0" smtClean="0">
                <a:solidFill>
                  <a:srgbClr val="4F81BD">
                    <a:lumMod val="7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低</a:t>
            </a:r>
            <a:r>
              <a:rPr lang="zh-TW" altLang="en-US" sz="1000" b="1" kern="0" dirty="0">
                <a:solidFill>
                  <a:srgbClr val="4F81BD">
                    <a:lumMod val="7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分族群</a:t>
            </a:r>
            <a:endParaRPr lang="en-US" altLang="zh-TW" sz="1000" b="1" kern="0" dirty="0">
              <a:solidFill>
                <a:srgbClr val="4F81BD">
                  <a:lumMod val="75000"/>
                </a:srgbClr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Calibri"/>
            </a:endParaRPr>
          </a:p>
        </p:txBody>
      </p:sp>
      <p:cxnSp>
        <p:nvCxnSpPr>
          <p:cNvPr id="137" name="肘形接點 136"/>
          <p:cNvCxnSpPr>
            <a:endCxn id="135" idx="3"/>
          </p:cNvCxnSpPr>
          <p:nvPr/>
        </p:nvCxnSpPr>
        <p:spPr>
          <a:xfrm rot="10800000">
            <a:off x="4607285" y="1958863"/>
            <a:ext cx="432048" cy="153902"/>
          </a:xfrm>
          <a:prstGeom prst="bentConnector3">
            <a:avLst>
              <a:gd name="adj1" fmla="val 50000"/>
            </a:avLst>
          </a:prstGeom>
          <a:ln w="12700">
            <a:tailEnd type="oval" w="sm" len="sm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38" name="肘形接點 137"/>
          <p:cNvCxnSpPr>
            <a:endCxn id="136" idx="3"/>
          </p:cNvCxnSpPr>
          <p:nvPr/>
        </p:nvCxnSpPr>
        <p:spPr>
          <a:xfrm rot="5400000">
            <a:off x="4602691" y="2114998"/>
            <a:ext cx="222878" cy="218382"/>
          </a:xfrm>
          <a:prstGeom prst="bentConnector2">
            <a:avLst/>
          </a:prstGeom>
          <a:ln w="12700">
            <a:tailEnd type="oval" w="sm" len="sm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9" name="矩形 138"/>
          <p:cNvSpPr/>
          <p:nvPr/>
        </p:nvSpPr>
        <p:spPr>
          <a:xfrm>
            <a:off x="7488992" y="1583068"/>
            <a:ext cx="648072" cy="276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 hangingPunct="0"/>
            <a:r>
              <a:rPr lang="zh-TW" altLang="en-US" sz="11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模型</a:t>
            </a:r>
            <a:r>
              <a:rPr lang="zh-TW" altLang="en-US" sz="12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 </a:t>
            </a:r>
            <a:r>
              <a:rPr lang="en-US" altLang="zh-TW" sz="12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1</a:t>
            </a:r>
            <a:endParaRPr lang="en-US" altLang="zh-TW" sz="1200" b="1" kern="0" dirty="0">
              <a:solidFill>
                <a:prstClr val="black">
                  <a:lumMod val="75000"/>
                  <a:lumOff val="2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Calibri"/>
            </a:endParaRPr>
          </a:p>
        </p:txBody>
      </p:sp>
      <p:pic>
        <p:nvPicPr>
          <p:cNvPr id="140" name="Picture 4" descr="ãmodel machine learning iconãçåçæå°çµæ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9916" y="1305493"/>
            <a:ext cx="386225" cy="361846"/>
          </a:xfrm>
          <a:prstGeom prst="rect">
            <a:avLst/>
          </a:prstGeom>
          <a:noFill/>
          <a:extLst/>
        </p:spPr>
      </p:pic>
      <p:pic>
        <p:nvPicPr>
          <p:cNvPr id="141" name="Picture 8" descr="ãmodel machine learning iconãçåçæå°çµæ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1182" y="1911907"/>
            <a:ext cx="281906" cy="264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2" name="矩形 141"/>
          <p:cNvSpPr/>
          <p:nvPr/>
        </p:nvSpPr>
        <p:spPr>
          <a:xfrm>
            <a:off x="7488992" y="2154589"/>
            <a:ext cx="64807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 hangingPunct="0"/>
            <a:r>
              <a:rPr lang="zh-TW" altLang="en-US" sz="11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模型 </a:t>
            </a:r>
            <a:r>
              <a:rPr lang="en-US" altLang="zh-TW" sz="11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2</a:t>
            </a:r>
          </a:p>
        </p:txBody>
      </p:sp>
      <p:cxnSp>
        <p:nvCxnSpPr>
          <p:cNvPr id="143" name="肘形接點 142"/>
          <p:cNvCxnSpPr/>
          <p:nvPr/>
        </p:nvCxnSpPr>
        <p:spPr>
          <a:xfrm flipV="1">
            <a:off x="7953088" y="1797236"/>
            <a:ext cx="410928" cy="227671"/>
          </a:xfrm>
          <a:prstGeom prst="bentConnector3">
            <a:avLst>
              <a:gd name="adj1" fmla="val 50000"/>
            </a:avLst>
          </a:prstGeom>
          <a:ln w="12700">
            <a:tailEnd type="none" w="sm" len="sm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44" name="肘形接點 143"/>
          <p:cNvCxnSpPr>
            <a:stCxn id="140" idx="3"/>
          </p:cNvCxnSpPr>
          <p:nvPr/>
        </p:nvCxnSpPr>
        <p:spPr>
          <a:xfrm>
            <a:off x="8006141" y="1486416"/>
            <a:ext cx="715750" cy="388919"/>
          </a:xfrm>
          <a:prstGeom prst="bentConnector3">
            <a:avLst>
              <a:gd name="adj1" fmla="val 50000"/>
            </a:avLst>
          </a:prstGeom>
          <a:ln w="12700">
            <a:tailEnd type="oval" w="sm" len="sm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45" name="Picture 8" descr="https://static.thenounproject.com/png/1608157-20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8428" y="1622405"/>
            <a:ext cx="324000" cy="252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6" name="矩形 145"/>
          <p:cNvSpPr/>
          <p:nvPr/>
        </p:nvSpPr>
        <p:spPr>
          <a:xfrm>
            <a:off x="8606392" y="1894102"/>
            <a:ext cx="64807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 hangingPunct="0"/>
            <a:r>
              <a:rPr lang="zh-TW" altLang="en-US" sz="1100" b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模型 </a:t>
            </a:r>
            <a:r>
              <a:rPr lang="en-US" altLang="zh-TW" sz="11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Calibri"/>
              </a:rPr>
              <a:t>3</a:t>
            </a:r>
          </a:p>
        </p:txBody>
      </p:sp>
      <p:sp>
        <p:nvSpPr>
          <p:cNvPr id="79" name="橢圓 78"/>
          <p:cNvSpPr/>
          <p:nvPr/>
        </p:nvSpPr>
        <p:spPr bwMode="auto">
          <a:xfrm>
            <a:off x="2047481" y="1221387"/>
            <a:ext cx="216000" cy="216000"/>
          </a:xfrm>
          <a:prstGeom prst="ellipse">
            <a:avLst/>
          </a:prstGeom>
          <a:solidFill>
            <a:srgbClr val="0099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US" altLang="zh-TW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1</a:t>
            </a:r>
            <a:endParaRPr lang="zh-TW" altLang="en-US" sz="1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81" name="橢圓 80"/>
          <p:cNvSpPr/>
          <p:nvPr/>
        </p:nvSpPr>
        <p:spPr bwMode="auto">
          <a:xfrm>
            <a:off x="3842710" y="1221387"/>
            <a:ext cx="216000" cy="216000"/>
          </a:xfrm>
          <a:prstGeom prst="ellipse">
            <a:avLst/>
          </a:prstGeom>
          <a:solidFill>
            <a:srgbClr val="0000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US" altLang="zh-TW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2</a:t>
            </a:r>
            <a:endParaRPr lang="zh-TW" altLang="en-US" sz="1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82" name="橢圓 81"/>
          <p:cNvSpPr/>
          <p:nvPr/>
        </p:nvSpPr>
        <p:spPr bwMode="auto">
          <a:xfrm>
            <a:off x="5645196" y="1221387"/>
            <a:ext cx="216000" cy="216000"/>
          </a:xfrm>
          <a:prstGeom prst="ellipse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US" altLang="zh-TW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3</a:t>
            </a:r>
            <a:endParaRPr lang="zh-TW" altLang="en-US" sz="1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83" name="橢圓 82"/>
          <p:cNvSpPr/>
          <p:nvPr/>
        </p:nvSpPr>
        <p:spPr bwMode="auto">
          <a:xfrm>
            <a:off x="7449237" y="1221387"/>
            <a:ext cx="216000" cy="216000"/>
          </a:xfrm>
          <a:prstGeom prst="ellipse">
            <a:avLst/>
          </a:prstGeom>
          <a:solidFill>
            <a:srgbClr val="FF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US" altLang="zh-TW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4</a:t>
            </a:r>
            <a:endParaRPr lang="zh-TW" altLang="en-US" sz="1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" name="矩形 2"/>
          <p:cNvSpPr/>
          <p:nvPr/>
        </p:nvSpPr>
        <p:spPr bwMode="auto">
          <a:xfrm>
            <a:off x="2021095" y="3073670"/>
            <a:ext cx="1773919" cy="374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9" name="矩形 8"/>
          <p:cNvSpPr/>
          <p:nvPr/>
        </p:nvSpPr>
        <p:spPr bwMode="auto">
          <a:xfrm>
            <a:off x="2092689" y="5683384"/>
            <a:ext cx="974121" cy="27171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6" name="矩形 65"/>
          <p:cNvSpPr/>
          <p:nvPr/>
        </p:nvSpPr>
        <p:spPr bwMode="auto">
          <a:xfrm>
            <a:off x="2092689" y="5453249"/>
            <a:ext cx="1056015" cy="252000"/>
          </a:xfrm>
          <a:prstGeom prst="rect">
            <a:avLst/>
          </a:prstGeom>
          <a:solidFill>
            <a:srgbClr val="0099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7" name="矩形 66"/>
          <p:cNvSpPr/>
          <p:nvPr/>
        </p:nvSpPr>
        <p:spPr bwMode="auto">
          <a:xfrm>
            <a:off x="2092689" y="5002072"/>
            <a:ext cx="796970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8" name="矩形 67"/>
          <p:cNvSpPr/>
          <p:nvPr/>
        </p:nvSpPr>
        <p:spPr bwMode="auto">
          <a:xfrm>
            <a:off x="2092689" y="4750072"/>
            <a:ext cx="594691" cy="252000"/>
          </a:xfrm>
          <a:prstGeom prst="rect">
            <a:avLst/>
          </a:prstGeom>
          <a:solidFill>
            <a:srgbClr val="0099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9" name="矩形 68"/>
          <p:cNvSpPr/>
          <p:nvPr/>
        </p:nvSpPr>
        <p:spPr bwMode="auto">
          <a:xfrm>
            <a:off x="2092689" y="4311971"/>
            <a:ext cx="396259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0" name="矩形 69"/>
          <p:cNvSpPr/>
          <p:nvPr/>
        </p:nvSpPr>
        <p:spPr bwMode="auto">
          <a:xfrm>
            <a:off x="2092689" y="4059971"/>
            <a:ext cx="295320" cy="252000"/>
          </a:xfrm>
          <a:prstGeom prst="rect">
            <a:avLst/>
          </a:prstGeom>
          <a:solidFill>
            <a:srgbClr val="0099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4" name="文字方塊 83"/>
          <p:cNvSpPr txBox="1"/>
          <p:nvPr/>
        </p:nvSpPr>
        <p:spPr>
          <a:xfrm>
            <a:off x="978097" y="3469518"/>
            <a:ext cx="10429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6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</a:t>
            </a:r>
          </a:p>
        </p:txBody>
      </p:sp>
      <p:sp>
        <p:nvSpPr>
          <p:cNvPr id="85" name="文字方塊 84"/>
          <p:cNvSpPr txBox="1"/>
          <p:nvPr/>
        </p:nvSpPr>
        <p:spPr>
          <a:xfrm>
            <a:off x="322185" y="3840012"/>
            <a:ext cx="66170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4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</a:t>
            </a:r>
            <a:endParaRPr lang="en-US" altLang="zh-TW" sz="24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24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24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求</a:t>
            </a:r>
            <a:endParaRPr lang="en-US" altLang="zh-TW" sz="24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24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24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</a:t>
            </a:r>
          </a:p>
        </p:txBody>
      </p:sp>
      <p:sp>
        <p:nvSpPr>
          <p:cNvPr id="86" name="文字方塊 85"/>
          <p:cNvSpPr txBox="1"/>
          <p:nvPr/>
        </p:nvSpPr>
        <p:spPr>
          <a:xfrm>
            <a:off x="978097" y="4131653"/>
            <a:ext cx="1038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1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5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</a:t>
            </a:r>
          </a:p>
        </p:txBody>
      </p:sp>
      <p:sp>
        <p:nvSpPr>
          <p:cNvPr id="87" name="文字方塊 86"/>
          <p:cNvSpPr txBox="1"/>
          <p:nvPr/>
        </p:nvSpPr>
        <p:spPr>
          <a:xfrm>
            <a:off x="1083293" y="4800517"/>
            <a:ext cx="934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</a:t>
            </a:r>
          </a:p>
        </p:txBody>
      </p:sp>
      <p:sp>
        <p:nvSpPr>
          <p:cNvPr id="88" name="文字方塊 87"/>
          <p:cNvSpPr txBox="1"/>
          <p:nvPr/>
        </p:nvSpPr>
        <p:spPr>
          <a:xfrm>
            <a:off x="1257477" y="5506244"/>
            <a:ext cx="7591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–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4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</a:t>
            </a:r>
            <a:endParaRPr lang="zh-TW" altLang="en-US" sz="20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6" name="矩形 95"/>
          <p:cNvSpPr/>
          <p:nvPr/>
        </p:nvSpPr>
        <p:spPr bwMode="auto">
          <a:xfrm>
            <a:off x="2290818" y="3645198"/>
            <a:ext cx="150419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.7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1" name="矩形 70"/>
          <p:cNvSpPr/>
          <p:nvPr/>
        </p:nvSpPr>
        <p:spPr bwMode="auto">
          <a:xfrm>
            <a:off x="2092689" y="3645198"/>
            <a:ext cx="198129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73" name="直線單箭頭接點 72"/>
          <p:cNvCxnSpPr/>
          <p:nvPr/>
        </p:nvCxnSpPr>
        <p:spPr bwMode="auto">
          <a:xfrm>
            <a:off x="2092689" y="3655032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97" name="矩形 96"/>
          <p:cNvSpPr/>
          <p:nvPr/>
        </p:nvSpPr>
        <p:spPr bwMode="auto">
          <a:xfrm>
            <a:off x="2234833" y="3395345"/>
            <a:ext cx="1560181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TW" altLang="en-US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↓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4.5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2" name="矩形 71"/>
          <p:cNvSpPr/>
          <p:nvPr/>
        </p:nvSpPr>
        <p:spPr bwMode="auto">
          <a:xfrm>
            <a:off x="2092689" y="3393198"/>
            <a:ext cx="147660" cy="252000"/>
          </a:xfrm>
          <a:prstGeom prst="rect">
            <a:avLst/>
          </a:prstGeom>
          <a:solidFill>
            <a:srgbClr val="0099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11" name="直線單箭頭接點 10"/>
          <p:cNvCxnSpPr/>
          <p:nvPr/>
        </p:nvCxnSpPr>
        <p:spPr bwMode="auto">
          <a:xfrm>
            <a:off x="2092689" y="3389465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25" name="文字方塊 24"/>
          <p:cNvSpPr txBox="1"/>
          <p:nvPr/>
        </p:nvSpPr>
        <p:spPr>
          <a:xfrm>
            <a:off x="2253114" y="3394287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32.4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104" name="矩形 103"/>
          <p:cNvSpPr/>
          <p:nvPr/>
        </p:nvSpPr>
        <p:spPr bwMode="auto">
          <a:xfrm>
            <a:off x="2488948" y="4311971"/>
            <a:ext cx="130606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.4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5" name="矩形 104"/>
          <p:cNvSpPr/>
          <p:nvPr/>
        </p:nvSpPr>
        <p:spPr bwMode="auto">
          <a:xfrm>
            <a:off x="2388010" y="4062118"/>
            <a:ext cx="1407004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TW" altLang="en-US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↓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.2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7" name="矩形 146"/>
          <p:cNvSpPr/>
          <p:nvPr/>
        </p:nvSpPr>
        <p:spPr bwMode="auto">
          <a:xfrm>
            <a:off x="2889659" y="5002072"/>
            <a:ext cx="90535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97.6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8" name="矩形 147"/>
          <p:cNvSpPr/>
          <p:nvPr/>
        </p:nvSpPr>
        <p:spPr bwMode="auto">
          <a:xfrm>
            <a:off x="2687380" y="4752219"/>
            <a:ext cx="1107634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TW" altLang="en-US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↓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76.5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rgbClr val="C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53" name="矩形 152"/>
          <p:cNvSpPr/>
          <p:nvPr/>
        </p:nvSpPr>
        <p:spPr bwMode="auto">
          <a:xfrm>
            <a:off x="3066810" y="5703102"/>
            <a:ext cx="728205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63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54" name="矩形 153"/>
          <p:cNvSpPr/>
          <p:nvPr/>
        </p:nvSpPr>
        <p:spPr bwMode="auto">
          <a:xfrm>
            <a:off x="3148705" y="5453249"/>
            <a:ext cx="646310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↑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87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60" name="矩形 159"/>
          <p:cNvSpPr/>
          <p:nvPr/>
        </p:nvSpPr>
        <p:spPr bwMode="auto">
          <a:xfrm>
            <a:off x="3833094" y="3078697"/>
            <a:ext cx="1773919" cy="374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3" name="矩形 162"/>
          <p:cNvSpPr/>
          <p:nvPr/>
        </p:nvSpPr>
        <p:spPr bwMode="auto">
          <a:xfrm>
            <a:off x="3904688" y="5007099"/>
            <a:ext cx="796970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4" name="矩形 163"/>
          <p:cNvSpPr/>
          <p:nvPr/>
        </p:nvSpPr>
        <p:spPr bwMode="auto">
          <a:xfrm>
            <a:off x="3904688" y="4755099"/>
            <a:ext cx="594691" cy="252000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5" name="矩形 164"/>
          <p:cNvSpPr/>
          <p:nvPr/>
        </p:nvSpPr>
        <p:spPr bwMode="auto">
          <a:xfrm>
            <a:off x="3904688" y="4316998"/>
            <a:ext cx="396259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6" name="矩形 165"/>
          <p:cNvSpPr/>
          <p:nvPr/>
        </p:nvSpPr>
        <p:spPr bwMode="auto">
          <a:xfrm>
            <a:off x="3904688" y="4064998"/>
            <a:ext cx="295320" cy="252000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8" name="矩形 167"/>
          <p:cNvSpPr/>
          <p:nvPr/>
        </p:nvSpPr>
        <p:spPr bwMode="auto">
          <a:xfrm>
            <a:off x="4102817" y="3650225"/>
            <a:ext cx="150419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.7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69" name="矩形 168"/>
          <p:cNvSpPr/>
          <p:nvPr/>
        </p:nvSpPr>
        <p:spPr bwMode="auto">
          <a:xfrm>
            <a:off x="3904688" y="3650225"/>
            <a:ext cx="198129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71" name="矩形 170"/>
          <p:cNvSpPr/>
          <p:nvPr/>
        </p:nvSpPr>
        <p:spPr bwMode="auto">
          <a:xfrm>
            <a:off x="4046832" y="3400372"/>
            <a:ext cx="1560181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TW" altLang="en-US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↓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4.5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2" name="矩形 171"/>
          <p:cNvSpPr/>
          <p:nvPr/>
        </p:nvSpPr>
        <p:spPr bwMode="auto">
          <a:xfrm>
            <a:off x="3904688" y="3398225"/>
            <a:ext cx="147660" cy="252000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76" name="矩形 175"/>
          <p:cNvSpPr/>
          <p:nvPr/>
        </p:nvSpPr>
        <p:spPr bwMode="auto">
          <a:xfrm>
            <a:off x="4300947" y="4316998"/>
            <a:ext cx="130606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.4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7" name="矩形 176"/>
          <p:cNvSpPr/>
          <p:nvPr/>
        </p:nvSpPr>
        <p:spPr bwMode="auto">
          <a:xfrm>
            <a:off x="4200009" y="4067145"/>
            <a:ext cx="1407004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TW" altLang="en-US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↓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.3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2" name="矩形 181"/>
          <p:cNvSpPr/>
          <p:nvPr/>
        </p:nvSpPr>
        <p:spPr bwMode="auto">
          <a:xfrm>
            <a:off x="4701658" y="5007099"/>
            <a:ext cx="90535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97.6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3" name="矩形 182"/>
          <p:cNvSpPr/>
          <p:nvPr/>
        </p:nvSpPr>
        <p:spPr bwMode="auto">
          <a:xfrm>
            <a:off x="4499379" y="4757246"/>
            <a:ext cx="1107634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TW" altLang="en-US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↓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77.3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rgbClr val="C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4" name="矩形 193"/>
          <p:cNvSpPr/>
          <p:nvPr/>
        </p:nvSpPr>
        <p:spPr bwMode="auto">
          <a:xfrm>
            <a:off x="5636570" y="3076456"/>
            <a:ext cx="1773919" cy="374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97" name="矩形 196"/>
          <p:cNvSpPr/>
          <p:nvPr/>
        </p:nvSpPr>
        <p:spPr bwMode="auto">
          <a:xfrm>
            <a:off x="5708164" y="5004858"/>
            <a:ext cx="796970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98" name="矩形 197"/>
          <p:cNvSpPr/>
          <p:nvPr/>
        </p:nvSpPr>
        <p:spPr bwMode="auto">
          <a:xfrm>
            <a:off x="5708164" y="4752858"/>
            <a:ext cx="594691" cy="252000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99" name="矩形 198"/>
          <p:cNvSpPr/>
          <p:nvPr/>
        </p:nvSpPr>
        <p:spPr bwMode="auto">
          <a:xfrm>
            <a:off x="5708164" y="4314757"/>
            <a:ext cx="396259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00" name="矩形 199"/>
          <p:cNvSpPr/>
          <p:nvPr/>
        </p:nvSpPr>
        <p:spPr bwMode="auto">
          <a:xfrm>
            <a:off x="5708164" y="4062757"/>
            <a:ext cx="295320" cy="252000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02" name="矩形 201"/>
          <p:cNvSpPr/>
          <p:nvPr/>
        </p:nvSpPr>
        <p:spPr bwMode="auto">
          <a:xfrm>
            <a:off x="5906293" y="3647984"/>
            <a:ext cx="150419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.7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03" name="矩形 202"/>
          <p:cNvSpPr/>
          <p:nvPr/>
        </p:nvSpPr>
        <p:spPr bwMode="auto">
          <a:xfrm>
            <a:off x="5708164" y="3647984"/>
            <a:ext cx="198129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05" name="矩形 204"/>
          <p:cNvSpPr/>
          <p:nvPr/>
        </p:nvSpPr>
        <p:spPr bwMode="auto">
          <a:xfrm>
            <a:off x="5850308" y="3398131"/>
            <a:ext cx="1560181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TW" altLang="en-US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↓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4.3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06" name="矩形 205"/>
          <p:cNvSpPr/>
          <p:nvPr/>
        </p:nvSpPr>
        <p:spPr bwMode="auto">
          <a:xfrm>
            <a:off x="5708164" y="3395984"/>
            <a:ext cx="147660" cy="252000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10" name="矩形 209"/>
          <p:cNvSpPr/>
          <p:nvPr/>
        </p:nvSpPr>
        <p:spPr bwMode="auto">
          <a:xfrm>
            <a:off x="6104423" y="4314757"/>
            <a:ext cx="130606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.4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11" name="矩形 210"/>
          <p:cNvSpPr/>
          <p:nvPr/>
        </p:nvSpPr>
        <p:spPr bwMode="auto">
          <a:xfrm>
            <a:off x="6003485" y="4064904"/>
            <a:ext cx="1407004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TW" altLang="en-US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↓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7.9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16" name="矩形 215"/>
          <p:cNvSpPr/>
          <p:nvPr/>
        </p:nvSpPr>
        <p:spPr bwMode="auto">
          <a:xfrm>
            <a:off x="6505134" y="5004858"/>
            <a:ext cx="90535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97.6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17" name="矩形 216"/>
          <p:cNvSpPr/>
          <p:nvPr/>
        </p:nvSpPr>
        <p:spPr bwMode="auto">
          <a:xfrm>
            <a:off x="6302855" y="4755005"/>
            <a:ext cx="1107634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TW" altLang="en-US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↓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73.2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rgbClr val="C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28" name="矩形 227"/>
          <p:cNvSpPr/>
          <p:nvPr/>
        </p:nvSpPr>
        <p:spPr bwMode="auto">
          <a:xfrm>
            <a:off x="7451706" y="3076456"/>
            <a:ext cx="1773919" cy="374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1" name="矩形 230"/>
          <p:cNvSpPr/>
          <p:nvPr/>
        </p:nvSpPr>
        <p:spPr bwMode="auto">
          <a:xfrm>
            <a:off x="7523300" y="5004858"/>
            <a:ext cx="796970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2" name="矩形 231"/>
          <p:cNvSpPr/>
          <p:nvPr/>
        </p:nvSpPr>
        <p:spPr bwMode="auto">
          <a:xfrm>
            <a:off x="7523300" y="4752858"/>
            <a:ext cx="899980" cy="252000"/>
          </a:xfrm>
          <a:prstGeom prst="rect">
            <a:avLst/>
          </a:prstGeom>
          <a:solidFill>
            <a:srgbClr val="FF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3" name="矩形 232"/>
          <p:cNvSpPr/>
          <p:nvPr/>
        </p:nvSpPr>
        <p:spPr bwMode="auto">
          <a:xfrm>
            <a:off x="7523300" y="4314757"/>
            <a:ext cx="396259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4" name="矩形 233"/>
          <p:cNvSpPr/>
          <p:nvPr/>
        </p:nvSpPr>
        <p:spPr bwMode="auto">
          <a:xfrm>
            <a:off x="7523299" y="4062757"/>
            <a:ext cx="482841" cy="252000"/>
          </a:xfrm>
          <a:prstGeom prst="rect">
            <a:avLst/>
          </a:prstGeom>
          <a:solidFill>
            <a:srgbClr val="FF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6" name="矩形 235"/>
          <p:cNvSpPr/>
          <p:nvPr/>
        </p:nvSpPr>
        <p:spPr bwMode="auto">
          <a:xfrm>
            <a:off x="7721429" y="3647984"/>
            <a:ext cx="150419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.7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37" name="矩形 236"/>
          <p:cNvSpPr/>
          <p:nvPr/>
        </p:nvSpPr>
        <p:spPr bwMode="auto">
          <a:xfrm>
            <a:off x="7523300" y="3643407"/>
            <a:ext cx="198129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9" name="矩形 238"/>
          <p:cNvSpPr/>
          <p:nvPr/>
        </p:nvSpPr>
        <p:spPr bwMode="auto">
          <a:xfrm>
            <a:off x="7665444" y="3398131"/>
            <a:ext cx="1560181" cy="24985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600" b="1" dirty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  <a:r>
              <a:rPr lang="en-US" altLang="zh-TW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.0</a:t>
            </a:r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40" name="矩形 239"/>
          <p:cNvSpPr/>
          <p:nvPr/>
        </p:nvSpPr>
        <p:spPr bwMode="auto">
          <a:xfrm>
            <a:off x="7523300" y="3395984"/>
            <a:ext cx="378000" cy="252000"/>
          </a:xfrm>
          <a:prstGeom prst="rect">
            <a:avLst/>
          </a:prstGeom>
          <a:solidFill>
            <a:srgbClr val="FF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44" name="矩形 243"/>
          <p:cNvSpPr/>
          <p:nvPr/>
        </p:nvSpPr>
        <p:spPr bwMode="auto">
          <a:xfrm>
            <a:off x="7919559" y="4314757"/>
            <a:ext cx="130606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.4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45" name="矩形 244"/>
          <p:cNvSpPr/>
          <p:nvPr/>
        </p:nvSpPr>
        <p:spPr bwMode="auto">
          <a:xfrm>
            <a:off x="8006140" y="4064904"/>
            <a:ext cx="1217361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600" b="1" dirty="0" smtClean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  <a:r>
              <a:rPr lang="en-US" altLang="zh-TW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6.6</a:t>
            </a:r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50" name="矩形 249"/>
          <p:cNvSpPr/>
          <p:nvPr/>
        </p:nvSpPr>
        <p:spPr bwMode="auto">
          <a:xfrm>
            <a:off x="8320270" y="5004858"/>
            <a:ext cx="90535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97.6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51" name="矩形 250"/>
          <p:cNvSpPr/>
          <p:nvPr/>
        </p:nvSpPr>
        <p:spPr bwMode="auto">
          <a:xfrm>
            <a:off x="8423280" y="4755005"/>
            <a:ext cx="802344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600" b="1" dirty="0" smtClean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↑</a:t>
            </a:r>
            <a:r>
              <a:rPr lang="en-US" altLang="zh-TW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2</a:t>
            </a:r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rgbClr val="C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2" name="流程圖: 打孔紙帶 261"/>
          <p:cNvSpPr/>
          <p:nvPr/>
        </p:nvSpPr>
        <p:spPr bwMode="auto">
          <a:xfrm rot="5400000">
            <a:off x="2895446" y="5542945"/>
            <a:ext cx="256228" cy="74143"/>
          </a:xfrm>
          <a:prstGeom prst="flowChartPunchedTap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64" name="流程圖: 打孔紙帶 263"/>
          <p:cNvSpPr/>
          <p:nvPr/>
        </p:nvSpPr>
        <p:spPr bwMode="auto">
          <a:xfrm rot="5400000">
            <a:off x="2768409" y="5794543"/>
            <a:ext cx="257026" cy="74143"/>
          </a:xfrm>
          <a:prstGeom prst="flowChartPunchedTap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90" name="矩形 89"/>
          <p:cNvSpPr/>
          <p:nvPr/>
        </p:nvSpPr>
        <p:spPr>
          <a:xfrm>
            <a:off x="2103105" y="3079017"/>
            <a:ext cx="16919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                     人數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7" name="矩形 276"/>
          <p:cNvSpPr/>
          <p:nvPr/>
        </p:nvSpPr>
        <p:spPr bwMode="auto">
          <a:xfrm>
            <a:off x="3907516" y="5683384"/>
            <a:ext cx="974121" cy="27171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78" name="矩形 277"/>
          <p:cNvSpPr/>
          <p:nvPr/>
        </p:nvSpPr>
        <p:spPr bwMode="auto">
          <a:xfrm>
            <a:off x="3907516" y="5453249"/>
            <a:ext cx="1056015" cy="252000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79" name="矩形 278"/>
          <p:cNvSpPr/>
          <p:nvPr/>
        </p:nvSpPr>
        <p:spPr bwMode="auto">
          <a:xfrm>
            <a:off x="4881637" y="5703102"/>
            <a:ext cx="725376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63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0" name="矩形 279"/>
          <p:cNvSpPr/>
          <p:nvPr/>
        </p:nvSpPr>
        <p:spPr bwMode="auto">
          <a:xfrm>
            <a:off x="4963532" y="5453249"/>
            <a:ext cx="643481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↑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86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5" name="流程圖: 打孔紙帶 284"/>
          <p:cNvSpPr/>
          <p:nvPr/>
        </p:nvSpPr>
        <p:spPr bwMode="auto">
          <a:xfrm rot="5400000">
            <a:off x="4710273" y="5542945"/>
            <a:ext cx="256228" cy="74143"/>
          </a:xfrm>
          <a:prstGeom prst="flowChartPunchedTap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86" name="流程圖: 打孔紙帶 285"/>
          <p:cNvSpPr/>
          <p:nvPr/>
        </p:nvSpPr>
        <p:spPr bwMode="auto">
          <a:xfrm rot="5400000">
            <a:off x="4583236" y="5794543"/>
            <a:ext cx="257026" cy="74143"/>
          </a:xfrm>
          <a:prstGeom prst="flowChartPunchedTap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87" name="矩形 286"/>
          <p:cNvSpPr/>
          <p:nvPr/>
        </p:nvSpPr>
        <p:spPr bwMode="auto">
          <a:xfrm>
            <a:off x="5701439" y="5677301"/>
            <a:ext cx="974121" cy="27171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88" name="矩形 287"/>
          <p:cNvSpPr/>
          <p:nvPr/>
        </p:nvSpPr>
        <p:spPr bwMode="auto">
          <a:xfrm>
            <a:off x="5701439" y="5447166"/>
            <a:ext cx="1056015" cy="252000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89" name="矩形 288"/>
          <p:cNvSpPr/>
          <p:nvPr/>
        </p:nvSpPr>
        <p:spPr bwMode="auto">
          <a:xfrm>
            <a:off x="6675560" y="5697019"/>
            <a:ext cx="728205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63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90" name="矩形 289"/>
          <p:cNvSpPr/>
          <p:nvPr/>
        </p:nvSpPr>
        <p:spPr bwMode="auto">
          <a:xfrm>
            <a:off x="6757455" y="5447166"/>
            <a:ext cx="646310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↑</a:t>
            </a:r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91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95" name="流程圖: 打孔紙帶 294"/>
          <p:cNvSpPr/>
          <p:nvPr/>
        </p:nvSpPr>
        <p:spPr bwMode="auto">
          <a:xfrm rot="5400000">
            <a:off x="6504196" y="5536862"/>
            <a:ext cx="256228" cy="74143"/>
          </a:xfrm>
          <a:prstGeom prst="flowChartPunchedTap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96" name="流程圖: 打孔紙帶 295"/>
          <p:cNvSpPr/>
          <p:nvPr/>
        </p:nvSpPr>
        <p:spPr bwMode="auto">
          <a:xfrm rot="5400000">
            <a:off x="6377159" y="5788460"/>
            <a:ext cx="257026" cy="74143"/>
          </a:xfrm>
          <a:prstGeom prst="flowChartPunchedTap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97" name="矩形 296"/>
          <p:cNvSpPr/>
          <p:nvPr/>
        </p:nvSpPr>
        <p:spPr bwMode="auto">
          <a:xfrm>
            <a:off x="7524976" y="5674419"/>
            <a:ext cx="974121" cy="27171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98" name="矩形 297"/>
          <p:cNvSpPr/>
          <p:nvPr/>
        </p:nvSpPr>
        <p:spPr bwMode="auto">
          <a:xfrm>
            <a:off x="7524976" y="5444284"/>
            <a:ext cx="804233" cy="252000"/>
          </a:xfrm>
          <a:prstGeom prst="rect">
            <a:avLst/>
          </a:prstGeom>
          <a:solidFill>
            <a:srgbClr val="FF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99" name="矩形 298"/>
          <p:cNvSpPr/>
          <p:nvPr/>
        </p:nvSpPr>
        <p:spPr bwMode="auto">
          <a:xfrm>
            <a:off x="8499097" y="5694137"/>
            <a:ext cx="728205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TW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63</a:t>
            </a:r>
            <a:r>
              <a:rPr lang="zh-TW" altLang="en-US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5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00" name="矩形 299"/>
          <p:cNvSpPr/>
          <p:nvPr/>
        </p:nvSpPr>
        <p:spPr bwMode="auto">
          <a:xfrm>
            <a:off x="8329209" y="5444284"/>
            <a:ext cx="898093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TW" altLang="en-US" sz="1600" b="1" dirty="0">
                <a:solidFill>
                  <a:srgbClr val="C00000"/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↓</a:t>
            </a:r>
            <a:r>
              <a:rPr lang="en-US" altLang="zh-TW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47</a:t>
            </a:r>
            <a:r>
              <a:rPr lang="zh-TW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zh-TW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05" name="流程圖: 打孔紙帶 304"/>
          <p:cNvSpPr/>
          <p:nvPr/>
        </p:nvSpPr>
        <p:spPr bwMode="auto">
          <a:xfrm rot="5400000">
            <a:off x="8129363" y="5533980"/>
            <a:ext cx="256228" cy="74143"/>
          </a:xfrm>
          <a:prstGeom prst="flowChartPunchedTap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06" name="流程圖: 打孔紙帶 305"/>
          <p:cNvSpPr/>
          <p:nvPr/>
        </p:nvSpPr>
        <p:spPr bwMode="auto">
          <a:xfrm rot="5400000">
            <a:off x="8200696" y="5785578"/>
            <a:ext cx="257026" cy="74143"/>
          </a:xfrm>
          <a:prstGeom prst="flowChartPunchedTap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65" name="直線接點 64"/>
          <p:cNvCxnSpPr/>
          <p:nvPr/>
        </p:nvCxnSpPr>
        <p:spPr bwMode="auto">
          <a:xfrm>
            <a:off x="2092689" y="3148470"/>
            <a:ext cx="0" cy="2916000"/>
          </a:xfrm>
          <a:prstGeom prst="line">
            <a:avLst/>
          </a:prstGeom>
          <a:noFill/>
          <a:ln w="254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167" name="直線接點 166"/>
          <p:cNvCxnSpPr/>
          <p:nvPr/>
        </p:nvCxnSpPr>
        <p:spPr bwMode="auto">
          <a:xfrm>
            <a:off x="3904688" y="3153497"/>
            <a:ext cx="0" cy="2916000"/>
          </a:xfrm>
          <a:prstGeom prst="line">
            <a:avLst/>
          </a:prstGeom>
          <a:noFill/>
          <a:ln w="254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01" name="直線接點 200"/>
          <p:cNvCxnSpPr/>
          <p:nvPr/>
        </p:nvCxnSpPr>
        <p:spPr bwMode="auto">
          <a:xfrm>
            <a:off x="5708164" y="3151256"/>
            <a:ext cx="0" cy="2916000"/>
          </a:xfrm>
          <a:prstGeom prst="line">
            <a:avLst/>
          </a:prstGeom>
          <a:noFill/>
          <a:ln w="254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35" name="直線接點 234"/>
          <p:cNvCxnSpPr/>
          <p:nvPr/>
        </p:nvCxnSpPr>
        <p:spPr bwMode="auto">
          <a:xfrm>
            <a:off x="7523300" y="3151256"/>
            <a:ext cx="0" cy="2916000"/>
          </a:xfrm>
          <a:prstGeom prst="line">
            <a:avLst/>
          </a:prstGeom>
          <a:noFill/>
          <a:ln w="254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07" name="矩形 306"/>
          <p:cNvSpPr/>
          <p:nvPr/>
        </p:nvSpPr>
        <p:spPr>
          <a:xfrm>
            <a:off x="3910273" y="3079016"/>
            <a:ext cx="169674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                     人數</a:t>
            </a:r>
          </a:p>
        </p:txBody>
      </p:sp>
      <p:sp>
        <p:nvSpPr>
          <p:cNvPr id="308" name="矩形 307"/>
          <p:cNvSpPr/>
          <p:nvPr/>
        </p:nvSpPr>
        <p:spPr>
          <a:xfrm>
            <a:off x="5712880" y="3080231"/>
            <a:ext cx="169761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                     人數</a:t>
            </a:r>
          </a:p>
        </p:txBody>
      </p:sp>
      <p:sp>
        <p:nvSpPr>
          <p:cNvPr id="309" name="矩形 308"/>
          <p:cNvSpPr/>
          <p:nvPr/>
        </p:nvSpPr>
        <p:spPr>
          <a:xfrm>
            <a:off x="7530667" y="3073671"/>
            <a:ext cx="169283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                     人數</a:t>
            </a:r>
          </a:p>
        </p:txBody>
      </p:sp>
      <p:sp>
        <p:nvSpPr>
          <p:cNvPr id="325" name="矩形 324"/>
          <p:cNvSpPr/>
          <p:nvPr/>
        </p:nvSpPr>
        <p:spPr bwMode="auto">
          <a:xfrm>
            <a:off x="8393400" y="3398131"/>
            <a:ext cx="830101" cy="260424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26" name="矩形 325"/>
          <p:cNvSpPr/>
          <p:nvPr/>
        </p:nvSpPr>
        <p:spPr bwMode="auto">
          <a:xfrm>
            <a:off x="8392530" y="4072913"/>
            <a:ext cx="830101" cy="260424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27" name="矩形 326"/>
          <p:cNvSpPr/>
          <p:nvPr/>
        </p:nvSpPr>
        <p:spPr bwMode="auto">
          <a:xfrm>
            <a:off x="8473527" y="4748281"/>
            <a:ext cx="749103" cy="260424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28" name="矩形 327"/>
          <p:cNvSpPr/>
          <p:nvPr/>
        </p:nvSpPr>
        <p:spPr bwMode="auto">
          <a:xfrm>
            <a:off x="8445534" y="5440839"/>
            <a:ext cx="781768" cy="260424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28" name="直線接點 27"/>
          <p:cNvCxnSpPr/>
          <p:nvPr/>
        </p:nvCxnSpPr>
        <p:spPr bwMode="auto">
          <a:xfrm>
            <a:off x="221952" y="2458738"/>
            <a:ext cx="0" cy="3380035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直線接點 225"/>
          <p:cNvCxnSpPr>
            <a:endCxn id="71" idx="1"/>
          </p:cNvCxnSpPr>
          <p:nvPr/>
        </p:nvCxnSpPr>
        <p:spPr bwMode="auto">
          <a:xfrm>
            <a:off x="221952" y="3771198"/>
            <a:ext cx="1870737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6" name="直線接點 255"/>
          <p:cNvCxnSpPr>
            <a:endCxn id="69" idx="1"/>
          </p:cNvCxnSpPr>
          <p:nvPr/>
        </p:nvCxnSpPr>
        <p:spPr bwMode="auto">
          <a:xfrm>
            <a:off x="221952" y="4437971"/>
            <a:ext cx="1870737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7" name="直線接點 256"/>
          <p:cNvCxnSpPr>
            <a:endCxn id="67" idx="1"/>
          </p:cNvCxnSpPr>
          <p:nvPr/>
        </p:nvCxnSpPr>
        <p:spPr bwMode="auto">
          <a:xfrm>
            <a:off x="221952" y="5128072"/>
            <a:ext cx="1870737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8" name="直線接點 257"/>
          <p:cNvCxnSpPr/>
          <p:nvPr/>
        </p:nvCxnSpPr>
        <p:spPr bwMode="auto">
          <a:xfrm>
            <a:off x="221952" y="5828694"/>
            <a:ext cx="1888212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9" name="文字方塊 258"/>
          <p:cNvSpPr txBox="1"/>
          <p:nvPr/>
        </p:nvSpPr>
        <p:spPr>
          <a:xfrm>
            <a:off x="2017328" y="6034430"/>
            <a:ext cx="1777685" cy="768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TW" altLang="en-US" sz="1050" b="1" dirty="0" smtClean="0">
                <a:solidFill>
                  <a:srgbClr val="00808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方法：</a:t>
            </a:r>
            <a:r>
              <a:rPr lang="zh-TW" alt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XGB</a:t>
            </a:r>
            <a:r>
              <a:rPr lang="zh-TW" alt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對於低分族群的鑑別能力較強，可將較多有需求的客戶往高分區送</a:t>
            </a:r>
            <a:endParaRPr lang="en-US" altLang="zh-TW" sz="10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5" name="文字方塊 264"/>
          <p:cNvSpPr txBox="1"/>
          <p:nvPr/>
        </p:nvSpPr>
        <p:spPr>
          <a:xfrm>
            <a:off x="90832" y="5976261"/>
            <a:ext cx="1837426" cy="796372"/>
          </a:xfrm>
          <a:prstGeom prst="rect">
            <a:avLst/>
          </a:prstGeom>
          <a:noFill/>
          <a:ln>
            <a:solidFill>
              <a:schemeClr val="bg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TW" altLang="en-US" sz="105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優化方向</a:t>
            </a:r>
            <a:r>
              <a:rPr lang="zh-TW" altLang="en-US" sz="105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r>
              <a:rPr lang="zh-TW" altLang="en-US" sz="1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在高分區客戶需求率維持一定水準下，將更多有需求的客戶往高分區送</a:t>
            </a:r>
          </a:p>
        </p:txBody>
      </p:sp>
      <p:sp>
        <p:nvSpPr>
          <p:cNvPr id="266" name="文字方塊 265"/>
          <p:cNvSpPr txBox="1"/>
          <p:nvPr/>
        </p:nvSpPr>
        <p:spPr>
          <a:xfrm>
            <a:off x="3833094" y="6043890"/>
            <a:ext cx="1777685" cy="768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TW" altLang="en-US" sz="1050" b="1" dirty="0" smtClean="0">
                <a:solidFill>
                  <a:srgbClr val="00808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方法：</a:t>
            </a:r>
            <a:r>
              <a:rPr lang="zh-TW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針對低分族群再建立模型 </a:t>
            </a:r>
            <a:r>
              <a:rPr lang="en-US" altLang="zh-TW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</a:t>
            </a:r>
            <a:r>
              <a:rPr lang="zh-TW" alt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再將</a:t>
            </a:r>
            <a:r>
              <a:rPr lang="zh-TW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部分有需求的客戶往高分區</a:t>
            </a:r>
            <a:r>
              <a:rPr lang="zh-TW" alt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送</a:t>
            </a:r>
            <a:endParaRPr lang="en-US" altLang="zh-TW" sz="10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7" name="文字方塊 266"/>
          <p:cNvSpPr txBox="1"/>
          <p:nvPr/>
        </p:nvSpPr>
        <p:spPr>
          <a:xfrm>
            <a:off x="5616829" y="6043395"/>
            <a:ext cx="1777685" cy="789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TW" altLang="en-US" sz="1050" b="1" dirty="0">
                <a:solidFill>
                  <a:srgbClr val="00808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方法：</a:t>
            </a:r>
            <a:r>
              <a:rPr lang="zh-TW" altLang="en-US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將</a:t>
            </a:r>
            <a:r>
              <a:rPr lang="zh-TW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目標變數的數值，</a:t>
            </a:r>
            <a:r>
              <a:rPr lang="zh-TW" altLang="en-US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行數種</a:t>
            </a:r>
            <a:r>
              <a:rPr lang="zh-TW" alt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等比例放大或縮小的權重</a:t>
            </a:r>
            <a:r>
              <a:rPr lang="zh-TW" altLang="en-US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調整</a:t>
            </a:r>
            <a:endParaRPr lang="en-US" altLang="zh-TW" sz="105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8" name="文字方塊 267"/>
          <p:cNvSpPr txBox="1"/>
          <p:nvPr/>
        </p:nvSpPr>
        <p:spPr>
          <a:xfrm>
            <a:off x="7451706" y="6051567"/>
            <a:ext cx="1777685" cy="768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TW" altLang="en-US" sz="1050" b="1" dirty="0" smtClean="0">
                <a:solidFill>
                  <a:srgbClr val="00808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方法：</a:t>
            </a:r>
            <a:r>
              <a:rPr lang="zh-TW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整合新舊模型所使用的重要變數，建立 </a:t>
            </a:r>
            <a:r>
              <a:rPr lang="en-US" altLang="zh-TW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</a:t>
            </a:r>
            <a:r>
              <a:rPr lang="zh-TW" alt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個信貸模型進行</a:t>
            </a:r>
            <a:r>
              <a:rPr lang="zh-TW" altLang="en-US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並聯</a:t>
            </a:r>
            <a:r>
              <a:rPr lang="zh-TW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成為最終</a:t>
            </a:r>
            <a:r>
              <a:rPr lang="zh-TW" altLang="en-US" sz="1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模型</a:t>
            </a:r>
            <a:endParaRPr lang="en-US" altLang="zh-TW" sz="1000" dirty="0" smtClean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" name="文字方塊 5"/>
          <p:cNvSpPr txBox="1"/>
          <p:nvPr/>
        </p:nvSpPr>
        <p:spPr>
          <a:xfrm>
            <a:off x="9229392" y="3408376"/>
            <a:ext cx="67660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9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人數增加</a:t>
            </a:r>
            <a:r>
              <a:rPr lang="en-US" altLang="zh-TW" sz="9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</a:p>
          <a:p>
            <a:r>
              <a:rPr lang="en-US" altLang="zh-TW" sz="16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0%</a:t>
            </a:r>
            <a:endParaRPr lang="zh-TW" altLang="en-US" sz="1600" b="1" dirty="0">
              <a:solidFill>
                <a:srgbClr val="FFC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22" name="文字方塊 221"/>
          <p:cNvSpPr txBox="1"/>
          <p:nvPr/>
        </p:nvSpPr>
        <p:spPr>
          <a:xfrm>
            <a:off x="9225624" y="4080976"/>
            <a:ext cx="68037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9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人數增加</a:t>
            </a:r>
            <a:r>
              <a:rPr lang="en-US" altLang="zh-TW" sz="9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</a:p>
          <a:p>
            <a:r>
              <a:rPr lang="en-US" altLang="zh-TW" sz="16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60%</a:t>
            </a:r>
            <a:endParaRPr lang="zh-TW" altLang="en-US" sz="1600" b="1" dirty="0">
              <a:solidFill>
                <a:srgbClr val="FFC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23" name="文字方塊 222"/>
          <p:cNvSpPr txBox="1"/>
          <p:nvPr/>
        </p:nvSpPr>
        <p:spPr>
          <a:xfrm>
            <a:off x="9222630" y="4745657"/>
            <a:ext cx="68336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9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人數增加</a:t>
            </a:r>
            <a:r>
              <a:rPr lang="en-US" altLang="zh-TW" sz="9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</a:p>
          <a:p>
            <a:r>
              <a:rPr lang="en-US" altLang="zh-TW" sz="16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%</a:t>
            </a:r>
            <a:endParaRPr lang="zh-TW" altLang="en-US" sz="1600" b="1" dirty="0">
              <a:solidFill>
                <a:srgbClr val="FFC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3" name="文字方塊 262"/>
          <p:cNvSpPr txBox="1"/>
          <p:nvPr/>
        </p:nvSpPr>
        <p:spPr>
          <a:xfrm>
            <a:off x="2254942" y="3660809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26.5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269" name="直線單箭頭接點 268"/>
          <p:cNvCxnSpPr/>
          <p:nvPr/>
        </p:nvCxnSpPr>
        <p:spPr bwMode="auto">
          <a:xfrm>
            <a:off x="2109713" y="4325323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270" name="直線單箭頭接點 269"/>
          <p:cNvCxnSpPr/>
          <p:nvPr/>
        </p:nvCxnSpPr>
        <p:spPr bwMode="auto">
          <a:xfrm>
            <a:off x="2109713" y="4059756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271" name="文字方塊 270"/>
          <p:cNvSpPr txBox="1"/>
          <p:nvPr/>
        </p:nvSpPr>
        <p:spPr>
          <a:xfrm>
            <a:off x="2270138" y="4064578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18.6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272" name="文字方塊 271"/>
          <p:cNvSpPr txBox="1"/>
          <p:nvPr/>
        </p:nvSpPr>
        <p:spPr>
          <a:xfrm>
            <a:off x="2271966" y="4331100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15.2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273" name="直線單箭頭接點 272"/>
          <p:cNvCxnSpPr/>
          <p:nvPr/>
        </p:nvCxnSpPr>
        <p:spPr bwMode="auto">
          <a:xfrm>
            <a:off x="2106409" y="5009665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274" name="直線單箭頭接點 273"/>
          <p:cNvCxnSpPr/>
          <p:nvPr/>
        </p:nvCxnSpPr>
        <p:spPr bwMode="auto">
          <a:xfrm>
            <a:off x="2106409" y="4744098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275" name="文字方塊 274"/>
          <p:cNvSpPr txBox="1"/>
          <p:nvPr/>
        </p:nvSpPr>
        <p:spPr>
          <a:xfrm>
            <a:off x="2266834" y="4748920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5</a:t>
            </a:r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.4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276" name="文字方塊 275"/>
          <p:cNvSpPr txBox="1"/>
          <p:nvPr/>
        </p:nvSpPr>
        <p:spPr>
          <a:xfrm>
            <a:off x="2268662" y="5015442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4.4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10" name="直線單箭頭接點 309"/>
          <p:cNvCxnSpPr/>
          <p:nvPr/>
        </p:nvCxnSpPr>
        <p:spPr bwMode="auto">
          <a:xfrm>
            <a:off x="2103105" y="5709051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11" name="直線單箭頭接點 310"/>
          <p:cNvCxnSpPr/>
          <p:nvPr/>
        </p:nvCxnSpPr>
        <p:spPr bwMode="auto">
          <a:xfrm>
            <a:off x="2103105" y="5443484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12" name="文字方塊 311"/>
          <p:cNvSpPr txBox="1"/>
          <p:nvPr/>
        </p:nvSpPr>
        <p:spPr>
          <a:xfrm>
            <a:off x="2263530" y="5448306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0.3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13" name="文字方塊 312"/>
          <p:cNvSpPr txBox="1"/>
          <p:nvPr/>
        </p:nvSpPr>
        <p:spPr>
          <a:xfrm>
            <a:off x="2265358" y="5714828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0.3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14" name="直線單箭頭接點 313"/>
          <p:cNvCxnSpPr/>
          <p:nvPr/>
        </p:nvCxnSpPr>
        <p:spPr bwMode="auto">
          <a:xfrm>
            <a:off x="5710137" y="3660390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15" name="直線單箭頭接點 314"/>
          <p:cNvCxnSpPr/>
          <p:nvPr/>
        </p:nvCxnSpPr>
        <p:spPr bwMode="auto">
          <a:xfrm>
            <a:off x="5710137" y="3394823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16" name="文字方塊 315"/>
          <p:cNvSpPr txBox="1"/>
          <p:nvPr/>
        </p:nvSpPr>
        <p:spPr>
          <a:xfrm>
            <a:off x="5870562" y="3399645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34.6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17" name="文字方塊 316"/>
          <p:cNvSpPr txBox="1"/>
          <p:nvPr/>
        </p:nvSpPr>
        <p:spPr>
          <a:xfrm>
            <a:off x="5872390" y="3666167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26.5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18" name="直線單箭頭接點 317"/>
          <p:cNvCxnSpPr/>
          <p:nvPr/>
        </p:nvCxnSpPr>
        <p:spPr bwMode="auto">
          <a:xfrm>
            <a:off x="5727161" y="4330681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19" name="直線單箭頭接點 318"/>
          <p:cNvCxnSpPr/>
          <p:nvPr/>
        </p:nvCxnSpPr>
        <p:spPr bwMode="auto">
          <a:xfrm>
            <a:off x="5727161" y="4065114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20" name="文字方塊 319"/>
          <p:cNvSpPr txBox="1"/>
          <p:nvPr/>
        </p:nvSpPr>
        <p:spPr>
          <a:xfrm>
            <a:off x="5887586" y="4069936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19.8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21" name="文字方塊 320"/>
          <p:cNvSpPr txBox="1"/>
          <p:nvPr/>
        </p:nvSpPr>
        <p:spPr>
          <a:xfrm>
            <a:off x="5889414" y="4336458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15.2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22" name="直線單箭頭接點 321"/>
          <p:cNvCxnSpPr/>
          <p:nvPr/>
        </p:nvCxnSpPr>
        <p:spPr bwMode="auto">
          <a:xfrm>
            <a:off x="5723857" y="5015023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23" name="直線單箭頭接點 322"/>
          <p:cNvCxnSpPr/>
          <p:nvPr/>
        </p:nvCxnSpPr>
        <p:spPr bwMode="auto">
          <a:xfrm>
            <a:off x="5723857" y="4749456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24" name="文字方塊 323"/>
          <p:cNvSpPr txBox="1"/>
          <p:nvPr/>
        </p:nvSpPr>
        <p:spPr>
          <a:xfrm>
            <a:off x="5884282" y="4754278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5.8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29" name="文字方塊 328"/>
          <p:cNvSpPr txBox="1"/>
          <p:nvPr/>
        </p:nvSpPr>
        <p:spPr>
          <a:xfrm>
            <a:off x="5886110" y="5020800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4.4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30" name="直線單箭頭接點 329"/>
          <p:cNvCxnSpPr/>
          <p:nvPr/>
        </p:nvCxnSpPr>
        <p:spPr bwMode="auto">
          <a:xfrm>
            <a:off x="5720553" y="5714409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31" name="直線單箭頭接點 330"/>
          <p:cNvCxnSpPr/>
          <p:nvPr/>
        </p:nvCxnSpPr>
        <p:spPr bwMode="auto">
          <a:xfrm>
            <a:off x="5720553" y="5448842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32" name="文字方塊 331"/>
          <p:cNvSpPr txBox="1"/>
          <p:nvPr/>
        </p:nvSpPr>
        <p:spPr>
          <a:xfrm>
            <a:off x="5880978" y="5453664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0.3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33" name="文字方塊 332"/>
          <p:cNvSpPr txBox="1"/>
          <p:nvPr/>
        </p:nvSpPr>
        <p:spPr>
          <a:xfrm>
            <a:off x="5882806" y="5720186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0.3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34" name="直線單箭頭接點 333"/>
          <p:cNvCxnSpPr/>
          <p:nvPr/>
        </p:nvCxnSpPr>
        <p:spPr bwMode="auto">
          <a:xfrm>
            <a:off x="3911398" y="3663561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35" name="直線單箭頭接點 334"/>
          <p:cNvCxnSpPr/>
          <p:nvPr/>
        </p:nvCxnSpPr>
        <p:spPr bwMode="auto">
          <a:xfrm>
            <a:off x="3911398" y="3397994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36" name="文字方塊 335"/>
          <p:cNvSpPr txBox="1"/>
          <p:nvPr/>
        </p:nvSpPr>
        <p:spPr>
          <a:xfrm>
            <a:off x="4071823" y="3402816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31.8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37" name="文字方塊 336"/>
          <p:cNvSpPr txBox="1"/>
          <p:nvPr/>
        </p:nvSpPr>
        <p:spPr>
          <a:xfrm>
            <a:off x="4073651" y="3669338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26.5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38" name="直線單箭頭接點 337"/>
          <p:cNvCxnSpPr/>
          <p:nvPr/>
        </p:nvCxnSpPr>
        <p:spPr bwMode="auto">
          <a:xfrm>
            <a:off x="3928422" y="4333852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39" name="直線單箭頭接點 338"/>
          <p:cNvCxnSpPr/>
          <p:nvPr/>
        </p:nvCxnSpPr>
        <p:spPr bwMode="auto">
          <a:xfrm>
            <a:off x="3928422" y="4068285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40" name="文字方塊 339"/>
          <p:cNvSpPr txBox="1"/>
          <p:nvPr/>
        </p:nvSpPr>
        <p:spPr>
          <a:xfrm>
            <a:off x="4088847" y="4073107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18.1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41" name="文字方塊 340"/>
          <p:cNvSpPr txBox="1"/>
          <p:nvPr/>
        </p:nvSpPr>
        <p:spPr>
          <a:xfrm>
            <a:off x="4090675" y="4339629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15.2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42" name="直線單箭頭接點 341"/>
          <p:cNvCxnSpPr/>
          <p:nvPr/>
        </p:nvCxnSpPr>
        <p:spPr bwMode="auto">
          <a:xfrm>
            <a:off x="3925118" y="5018194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43" name="直線單箭頭接點 342"/>
          <p:cNvCxnSpPr/>
          <p:nvPr/>
        </p:nvCxnSpPr>
        <p:spPr bwMode="auto">
          <a:xfrm>
            <a:off x="3925118" y="4752627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44" name="文字方塊 343"/>
          <p:cNvSpPr txBox="1"/>
          <p:nvPr/>
        </p:nvSpPr>
        <p:spPr>
          <a:xfrm>
            <a:off x="4085543" y="4757449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5</a:t>
            </a:r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.4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45" name="文字方塊 344"/>
          <p:cNvSpPr txBox="1"/>
          <p:nvPr/>
        </p:nvSpPr>
        <p:spPr>
          <a:xfrm>
            <a:off x="4087371" y="5023971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4.4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46" name="直線單箭頭接點 345"/>
          <p:cNvCxnSpPr/>
          <p:nvPr/>
        </p:nvCxnSpPr>
        <p:spPr bwMode="auto">
          <a:xfrm>
            <a:off x="3921814" y="5717580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47" name="直線單箭頭接點 346"/>
          <p:cNvCxnSpPr/>
          <p:nvPr/>
        </p:nvCxnSpPr>
        <p:spPr bwMode="auto">
          <a:xfrm>
            <a:off x="3921814" y="5452013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48" name="文字方塊 347"/>
          <p:cNvSpPr txBox="1"/>
          <p:nvPr/>
        </p:nvSpPr>
        <p:spPr>
          <a:xfrm>
            <a:off x="4082239" y="5456835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0.3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49" name="文字方塊 348"/>
          <p:cNvSpPr txBox="1"/>
          <p:nvPr/>
        </p:nvSpPr>
        <p:spPr>
          <a:xfrm>
            <a:off x="4084067" y="5723357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0.3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50" name="直線單箭頭接點 349"/>
          <p:cNvCxnSpPr/>
          <p:nvPr/>
        </p:nvCxnSpPr>
        <p:spPr bwMode="auto">
          <a:xfrm>
            <a:off x="7542874" y="3660754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51" name="直線單箭頭接點 350"/>
          <p:cNvCxnSpPr/>
          <p:nvPr/>
        </p:nvCxnSpPr>
        <p:spPr bwMode="auto">
          <a:xfrm>
            <a:off x="7542874" y="3395187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52" name="文字方塊 351"/>
          <p:cNvSpPr txBox="1"/>
          <p:nvPr/>
        </p:nvSpPr>
        <p:spPr>
          <a:xfrm>
            <a:off x="7703299" y="3400009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22.8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53" name="文字方塊 352"/>
          <p:cNvSpPr txBox="1"/>
          <p:nvPr/>
        </p:nvSpPr>
        <p:spPr>
          <a:xfrm>
            <a:off x="7705127" y="3666531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26.5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54" name="直線單箭頭接點 353"/>
          <p:cNvCxnSpPr/>
          <p:nvPr/>
        </p:nvCxnSpPr>
        <p:spPr bwMode="auto">
          <a:xfrm>
            <a:off x="7559898" y="4331045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55" name="直線單箭頭接點 354"/>
          <p:cNvCxnSpPr/>
          <p:nvPr/>
        </p:nvCxnSpPr>
        <p:spPr bwMode="auto">
          <a:xfrm>
            <a:off x="7559898" y="4065478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56" name="文字方塊 355"/>
          <p:cNvSpPr txBox="1"/>
          <p:nvPr/>
        </p:nvSpPr>
        <p:spPr>
          <a:xfrm>
            <a:off x="7720323" y="4070300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11.6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57" name="文字方塊 356"/>
          <p:cNvSpPr txBox="1"/>
          <p:nvPr/>
        </p:nvSpPr>
        <p:spPr>
          <a:xfrm>
            <a:off x="7722151" y="4336822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15.2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58" name="直線單箭頭接點 357"/>
          <p:cNvCxnSpPr/>
          <p:nvPr/>
        </p:nvCxnSpPr>
        <p:spPr bwMode="auto">
          <a:xfrm>
            <a:off x="7556594" y="5015387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59" name="直線單箭頭接點 358"/>
          <p:cNvCxnSpPr/>
          <p:nvPr/>
        </p:nvCxnSpPr>
        <p:spPr bwMode="auto">
          <a:xfrm>
            <a:off x="7556594" y="4757771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60" name="文字方塊 359"/>
          <p:cNvSpPr txBox="1"/>
          <p:nvPr/>
        </p:nvSpPr>
        <p:spPr>
          <a:xfrm>
            <a:off x="7717019" y="4754642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3.2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61" name="文字方塊 360"/>
          <p:cNvSpPr txBox="1"/>
          <p:nvPr/>
        </p:nvSpPr>
        <p:spPr>
          <a:xfrm>
            <a:off x="7718847" y="5021164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4.4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cxnSp>
        <p:nvCxnSpPr>
          <p:cNvPr id="362" name="直線單箭頭接點 361"/>
          <p:cNvCxnSpPr/>
          <p:nvPr/>
        </p:nvCxnSpPr>
        <p:spPr bwMode="auto">
          <a:xfrm>
            <a:off x="7553290" y="5714773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cxnSp>
        <p:nvCxnSpPr>
          <p:cNvPr id="363" name="直線單箭頭接點 362"/>
          <p:cNvCxnSpPr/>
          <p:nvPr/>
        </p:nvCxnSpPr>
        <p:spPr bwMode="auto">
          <a:xfrm>
            <a:off x="7553290" y="5449206"/>
            <a:ext cx="720000" cy="0"/>
          </a:xfrm>
          <a:prstGeom prst="straightConnector1">
            <a:avLst/>
          </a:prstGeom>
          <a:noFill/>
          <a:ln w="15875" cap="flat" cmpd="sng" algn="ctr">
            <a:solidFill>
              <a:srgbClr val="FFC000"/>
            </a:solidFill>
            <a:prstDash val="sysDash"/>
            <a:round/>
            <a:headEnd type="none" w="med" len="med"/>
            <a:tailEnd type="oval" w="sm" len="sm"/>
          </a:ln>
          <a:effectLst/>
        </p:spPr>
      </p:cxnSp>
      <p:sp>
        <p:nvSpPr>
          <p:cNvPr id="365" name="文字方塊 364"/>
          <p:cNvSpPr txBox="1"/>
          <p:nvPr/>
        </p:nvSpPr>
        <p:spPr>
          <a:xfrm>
            <a:off x="7715543" y="5720550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0.3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66" name="文字方塊 365"/>
          <p:cNvSpPr txBox="1"/>
          <p:nvPr/>
        </p:nvSpPr>
        <p:spPr>
          <a:xfrm>
            <a:off x="7713715" y="5454028"/>
            <a:ext cx="5610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TW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chemeClr val="bg1"/>
                  </a:glo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0.3%</a:t>
            </a:r>
            <a:endParaRPr lang="zh-TW" altLang="en-US" sz="900" b="1" dirty="0">
              <a:solidFill>
                <a:srgbClr val="C00000"/>
              </a:solidFill>
              <a:effectLst>
                <a:glow rad="127000">
                  <a:schemeClr val="bg1"/>
                </a:glow>
              </a:effectLst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20" name="文字方塊 19"/>
          <p:cNvSpPr txBox="1"/>
          <p:nvPr/>
        </p:nvSpPr>
        <p:spPr>
          <a:xfrm>
            <a:off x="169053" y="2415272"/>
            <a:ext cx="14094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200000"/>
              </a:lnSpc>
            </a:pPr>
            <a:r>
              <a:rPr lang="en-US" altLang="zh-TW" sz="1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zh-TW" altLang="en-US" sz="1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↑客戶數</a:t>
            </a:r>
            <a:r>
              <a:rPr lang="zh-TW" altLang="en-US" sz="9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需求率</a:t>
            </a:r>
            <a:r>
              <a:rPr lang="en-US" altLang="zh-TW" sz="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r>
              <a:rPr lang="zh-TW" altLang="en-US" sz="9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endParaRPr lang="en-US" altLang="zh-TW" sz="9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>
              <a:lnSpc>
                <a:spcPct val="200000"/>
              </a:lnSpc>
            </a:pPr>
            <a:r>
              <a:rPr lang="en-US" altLang="zh-TW" sz="1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zh-TW" altLang="en-US" sz="10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</a:t>
            </a:r>
            <a:r>
              <a:rPr lang="zh-TW" altLang="en-US" sz="1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↑需求覆蓋率：</a:t>
            </a:r>
            <a:endParaRPr lang="en-US" altLang="zh-TW" sz="10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24" name="投影片編號版面配置區 3"/>
          <p:cNvSpPr txBox="1">
            <a:spLocks/>
          </p:cNvSpPr>
          <p:nvPr/>
        </p:nvSpPr>
        <p:spPr>
          <a:xfrm>
            <a:off x="9345488" y="6381330"/>
            <a:ext cx="488504" cy="36512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DA0BB7-265A-403C-9275-D587AB510EDC}" type="slidenum">
              <a:rPr lang="zh-TW" altLang="en-US" smtClean="0">
                <a:solidFill>
                  <a:schemeClr val="bg1"/>
                </a:solidFill>
              </a:rPr>
              <a:pPr/>
              <a:t>8</a:t>
            </a:fld>
            <a:endParaRPr lang="zh-TW" altLang="en-US" dirty="0">
              <a:solidFill>
                <a:schemeClr val="bg1"/>
              </a:solidFill>
            </a:endParaRPr>
          </a:p>
        </p:txBody>
      </p:sp>
      <p:sp>
        <p:nvSpPr>
          <p:cNvPr id="2" name="橢圓 1"/>
          <p:cNvSpPr/>
          <p:nvPr/>
        </p:nvSpPr>
        <p:spPr bwMode="auto">
          <a:xfrm>
            <a:off x="-727710" y="2662060"/>
            <a:ext cx="468000" cy="234000"/>
          </a:xfrm>
          <a:custGeom>
            <a:avLst/>
            <a:gdLst/>
            <a:ahLst/>
            <a:cxnLst/>
            <a:rect l="l" t="t" r="r" b="b"/>
            <a:pathLst>
              <a:path w="468000" h="234000">
                <a:moveTo>
                  <a:pt x="0" y="0"/>
                </a:moveTo>
                <a:lnTo>
                  <a:pt x="468000" y="0"/>
                </a:lnTo>
                <a:cubicBezTo>
                  <a:pt x="468000" y="129235"/>
                  <a:pt x="363235" y="234000"/>
                  <a:pt x="234000" y="234000"/>
                </a:cubicBezTo>
                <a:cubicBezTo>
                  <a:pt x="104765" y="234000"/>
                  <a:pt x="0" y="129235"/>
                  <a:pt x="0" y="0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25" name="橢圓 1"/>
          <p:cNvSpPr/>
          <p:nvPr/>
        </p:nvSpPr>
        <p:spPr bwMode="auto">
          <a:xfrm rot="10800000">
            <a:off x="-727710" y="2428060"/>
            <a:ext cx="468000" cy="234000"/>
          </a:xfrm>
          <a:custGeom>
            <a:avLst/>
            <a:gdLst/>
            <a:ahLst/>
            <a:cxnLst/>
            <a:rect l="l" t="t" r="r" b="b"/>
            <a:pathLst>
              <a:path w="468000" h="234000">
                <a:moveTo>
                  <a:pt x="0" y="0"/>
                </a:moveTo>
                <a:lnTo>
                  <a:pt x="468000" y="0"/>
                </a:lnTo>
                <a:cubicBezTo>
                  <a:pt x="468000" y="129235"/>
                  <a:pt x="363235" y="234000"/>
                  <a:pt x="234000" y="234000"/>
                </a:cubicBezTo>
                <a:cubicBezTo>
                  <a:pt x="104765" y="234000"/>
                  <a:pt x="0" y="129235"/>
                  <a:pt x="0" y="0"/>
                </a:cubicBezTo>
                <a:close/>
              </a:path>
            </a:pathLst>
          </a:cu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" name="流程圖: 接點 7"/>
          <p:cNvSpPr/>
          <p:nvPr/>
        </p:nvSpPr>
        <p:spPr bwMode="auto">
          <a:xfrm>
            <a:off x="-547711" y="2612632"/>
            <a:ext cx="108000" cy="108000"/>
          </a:xfrm>
          <a:prstGeom prst="flowChartConnector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89000" rtl="0" eaLnBrk="1" fontAlgn="base" latinLnBrk="0" hangingPunct="1"/>
            <a:endParaRPr kumimoji="0" lang="zh-TW" alt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pSp>
        <p:nvGrpSpPr>
          <p:cNvPr id="13" name="群組 12"/>
          <p:cNvGrpSpPr/>
          <p:nvPr/>
        </p:nvGrpSpPr>
        <p:grpSpPr>
          <a:xfrm>
            <a:off x="1477222" y="2487564"/>
            <a:ext cx="541091" cy="571546"/>
            <a:chOff x="1374176" y="2432479"/>
            <a:chExt cx="541091" cy="571546"/>
          </a:xfrm>
        </p:grpSpPr>
        <p:sp>
          <p:nvSpPr>
            <p:cNvPr id="227" name="橢圓 1"/>
            <p:cNvSpPr/>
            <p:nvPr/>
          </p:nvSpPr>
          <p:spPr bwMode="auto">
            <a:xfrm>
              <a:off x="1374176" y="2716025"/>
              <a:ext cx="541091" cy="288000"/>
            </a:xfrm>
            <a:custGeom>
              <a:avLst/>
              <a:gdLst/>
              <a:ahLst/>
              <a:cxnLst/>
              <a:rect l="l" t="t" r="r" b="b"/>
              <a:pathLst>
                <a:path w="468000" h="234000">
                  <a:moveTo>
                    <a:pt x="0" y="0"/>
                  </a:moveTo>
                  <a:lnTo>
                    <a:pt x="468000" y="0"/>
                  </a:lnTo>
                  <a:cubicBezTo>
                    <a:pt x="468000" y="129235"/>
                    <a:pt x="363235" y="234000"/>
                    <a:pt x="234000" y="234000"/>
                  </a:cubicBezTo>
                  <a:cubicBezTo>
                    <a:pt x="104765" y="234000"/>
                    <a:pt x="0" y="1292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kumimoji="0" lang="en-US" altLang="zh-TW" sz="1000" b="1" i="0" u="none" strike="noStrike" cap="none" normalizeH="0" baseline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88.2%</a:t>
              </a:r>
              <a:endParaRPr kumimoji="0" lang="zh-TW" altLang="en-US" sz="10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0" name="流程圖: 接點 9"/>
            <p:cNvSpPr/>
            <p:nvPr/>
          </p:nvSpPr>
          <p:spPr bwMode="auto">
            <a:xfrm>
              <a:off x="1374176" y="2432479"/>
              <a:ext cx="541091" cy="288000"/>
            </a:xfrm>
            <a:custGeom>
              <a:avLst/>
              <a:gdLst/>
              <a:ahLst/>
              <a:cxnLst/>
              <a:rect l="l" t="t" r="r" b="b"/>
              <a:pathLst>
                <a:path w="536631" h="253290">
                  <a:moveTo>
                    <a:pt x="268315" y="0"/>
                  </a:moveTo>
                  <a:cubicBezTo>
                    <a:pt x="411796" y="0"/>
                    <a:pt x="529137" y="111918"/>
                    <a:pt x="536631" y="253290"/>
                  </a:cubicBezTo>
                  <a:lnTo>
                    <a:pt x="0" y="253290"/>
                  </a:lnTo>
                  <a:cubicBezTo>
                    <a:pt x="7493" y="111918"/>
                    <a:pt x="124834" y="0"/>
                    <a:pt x="268315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endParaRPr kumimoji="0" lang="en-US" altLang="zh-TW" sz="2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indent="0" defTabSz="889000" rtl="0" eaLnBrk="1" fontAlgn="base" latinLnBrk="0" hangingPunct="1"/>
              <a:r>
                <a:rPr kumimoji="0" lang="en-US" altLang="zh-TW" sz="1000" b="1" i="0" u="none" strike="noStrike" cap="none" normalizeH="0" baseline="0" dirty="0" smtClean="0">
                  <a:solidFill>
                    <a:schemeClr val="bg1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13</a:t>
              </a:r>
              <a:r>
                <a:rPr kumimoji="0" lang="zh-TW" altLang="en-US" sz="1000" b="1" i="0" u="none" strike="noStrike" cap="none" normalizeH="0" baseline="0" dirty="0" smtClean="0">
                  <a:solidFill>
                    <a:schemeClr val="bg1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萬</a:t>
              </a:r>
              <a:endParaRPr kumimoji="0" lang="en-US" altLang="zh-TW" sz="10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indent="0" defTabSz="889000" rtl="0" eaLnBrk="1" fontAlgn="base" latinLnBrk="0" hangingPunct="1"/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(</a:t>
              </a:r>
              <a:r>
                <a:rPr lang="zh-TW" altLang="en-US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6.5%</a:t>
              </a:r>
              <a:r>
                <a:rPr lang="zh-TW" altLang="en-US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)</a:t>
              </a:r>
              <a:endParaRPr kumimoji="0" lang="zh-TW" altLang="en-US" sz="6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42" name="群組 241"/>
          <p:cNvGrpSpPr/>
          <p:nvPr/>
        </p:nvGrpSpPr>
        <p:grpSpPr>
          <a:xfrm>
            <a:off x="2644391" y="2482860"/>
            <a:ext cx="541091" cy="571546"/>
            <a:chOff x="1374176" y="2432479"/>
            <a:chExt cx="541091" cy="571546"/>
          </a:xfrm>
        </p:grpSpPr>
        <p:sp>
          <p:nvSpPr>
            <p:cNvPr id="243" name="橢圓 1"/>
            <p:cNvSpPr/>
            <p:nvPr/>
          </p:nvSpPr>
          <p:spPr bwMode="auto">
            <a:xfrm>
              <a:off x="1374176" y="2716025"/>
              <a:ext cx="541091" cy="288000"/>
            </a:xfrm>
            <a:custGeom>
              <a:avLst/>
              <a:gdLst/>
              <a:ahLst/>
              <a:cxnLst/>
              <a:rect l="l" t="t" r="r" b="b"/>
              <a:pathLst>
                <a:path w="468000" h="234000">
                  <a:moveTo>
                    <a:pt x="0" y="0"/>
                  </a:moveTo>
                  <a:lnTo>
                    <a:pt x="468000" y="0"/>
                  </a:lnTo>
                  <a:cubicBezTo>
                    <a:pt x="468000" y="129235"/>
                    <a:pt x="363235" y="234000"/>
                    <a:pt x="234000" y="234000"/>
                  </a:cubicBezTo>
                  <a:cubicBezTo>
                    <a:pt x="104765" y="234000"/>
                    <a:pt x="0" y="1292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kumimoji="0" lang="en-US" altLang="zh-TW" sz="1000" b="1" i="0" u="none" strike="noStrike" cap="none" normalizeH="0" baseline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85.2%</a:t>
              </a:r>
              <a:endParaRPr kumimoji="0" lang="zh-TW" altLang="en-US" sz="10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46" name="流程圖: 接點 9"/>
            <p:cNvSpPr/>
            <p:nvPr/>
          </p:nvSpPr>
          <p:spPr bwMode="auto">
            <a:xfrm>
              <a:off x="1374176" y="2432479"/>
              <a:ext cx="541091" cy="288000"/>
            </a:xfrm>
            <a:custGeom>
              <a:avLst/>
              <a:gdLst/>
              <a:ahLst/>
              <a:cxnLst/>
              <a:rect l="l" t="t" r="r" b="b"/>
              <a:pathLst>
                <a:path w="536631" h="253290">
                  <a:moveTo>
                    <a:pt x="268315" y="0"/>
                  </a:moveTo>
                  <a:cubicBezTo>
                    <a:pt x="411796" y="0"/>
                    <a:pt x="529137" y="111918"/>
                    <a:pt x="536631" y="253290"/>
                  </a:cubicBezTo>
                  <a:lnTo>
                    <a:pt x="0" y="253290"/>
                  </a:lnTo>
                  <a:cubicBezTo>
                    <a:pt x="7493" y="111918"/>
                    <a:pt x="124834" y="0"/>
                    <a:pt x="268315" y="0"/>
                  </a:cubicBezTo>
                  <a:close/>
                </a:path>
              </a:pathLst>
            </a:custGeom>
            <a:solidFill>
              <a:srgbClr val="009999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endParaRPr lang="en-US" altLang="zh-TW" sz="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indent="0" defTabSz="889000" rtl="0" eaLnBrk="1" fontAlgn="base" latinLnBrk="0" hangingPunct="1"/>
              <a:r>
                <a:rPr lang="en-US" altLang="zh-TW" sz="10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89</a:t>
              </a:r>
              <a:r>
                <a:rPr kumimoji="0" lang="zh-TW" altLang="en-US" sz="1000" b="1" i="0" u="none" strike="noStrike" cap="none" normalizeH="0" baseline="0" dirty="0" smtClean="0">
                  <a:solidFill>
                    <a:schemeClr val="bg1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萬</a:t>
              </a:r>
              <a:endParaRPr kumimoji="0" lang="en-US" altLang="zh-TW" sz="10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indent="0" defTabSz="889000" rtl="0" eaLnBrk="1" fontAlgn="base" latinLnBrk="0" hangingPunct="1"/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(</a:t>
              </a:r>
              <a:r>
                <a:rPr lang="zh-TW" altLang="en-US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8.0%</a:t>
              </a:r>
              <a:r>
                <a:rPr lang="zh-TW" altLang="en-US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)</a:t>
              </a:r>
              <a:endParaRPr kumimoji="0" lang="zh-TW" altLang="en-US" sz="6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47" name="群組 246"/>
          <p:cNvGrpSpPr/>
          <p:nvPr/>
        </p:nvGrpSpPr>
        <p:grpSpPr>
          <a:xfrm>
            <a:off x="4463100" y="2484313"/>
            <a:ext cx="541091" cy="571546"/>
            <a:chOff x="1374176" y="2432479"/>
            <a:chExt cx="541091" cy="571546"/>
          </a:xfrm>
        </p:grpSpPr>
        <p:sp>
          <p:nvSpPr>
            <p:cNvPr id="248" name="橢圓 1"/>
            <p:cNvSpPr/>
            <p:nvPr/>
          </p:nvSpPr>
          <p:spPr bwMode="auto">
            <a:xfrm>
              <a:off x="1374176" y="2716025"/>
              <a:ext cx="541091" cy="288000"/>
            </a:xfrm>
            <a:custGeom>
              <a:avLst/>
              <a:gdLst/>
              <a:ahLst/>
              <a:cxnLst/>
              <a:rect l="l" t="t" r="r" b="b"/>
              <a:pathLst>
                <a:path w="468000" h="234000">
                  <a:moveTo>
                    <a:pt x="0" y="0"/>
                  </a:moveTo>
                  <a:lnTo>
                    <a:pt x="468000" y="0"/>
                  </a:lnTo>
                  <a:cubicBezTo>
                    <a:pt x="468000" y="129235"/>
                    <a:pt x="363235" y="234000"/>
                    <a:pt x="234000" y="234000"/>
                  </a:cubicBezTo>
                  <a:cubicBezTo>
                    <a:pt x="104765" y="234000"/>
                    <a:pt x="0" y="1292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kumimoji="0" lang="en-US" altLang="zh-TW" sz="1000" b="1" i="0" u="none" strike="noStrike" cap="none" normalizeH="0" baseline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85.3%</a:t>
              </a:r>
              <a:endParaRPr kumimoji="0" lang="zh-TW" altLang="en-US" sz="10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49" name="流程圖: 接點 9"/>
            <p:cNvSpPr/>
            <p:nvPr/>
          </p:nvSpPr>
          <p:spPr bwMode="auto">
            <a:xfrm>
              <a:off x="1374176" y="2432479"/>
              <a:ext cx="541091" cy="288000"/>
            </a:xfrm>
            <a:custGeom>
              <a:avLst/>
              <a:gdLst/>
              <a:ahLst/>
              <a:cxnLst/>
              <a:rect l="l" t="t" r="r" b="b"/>
              <a:pathLst>
                <a:path w="536631" h="253290">
                  <a:moveTo>
                    <a:pt x="268315" y="0"/>
                  </a:moveTo>
                  <a:cubicBezTo>
                    <a:pt x="411796" y="0"/>
                    <a:pt x="529137" y="111918"/>
                    <a:pt x="536631" y="253290"/>
                  </a:cubicBezTo>
                  <a:lnTo>
                    <a:pt x="0" y="253290"/>
                  </a:lnTo>
                  <a:cubicBezTo>
                    <a:pt x="7493" y="111918"/>
                    <a:pt x="124834" y="0"/>
                    <a:pt x="268315" y="0"/>
                  </a:cubicBezTo>
                  <a:close/>
                </a:path>
              </a:pathLst>
            </a:custGeom>
            <a:solidFill>
              <a:srgbClr val="0070C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endParaRPr lang="en-US" altLang="zh-TW" sz="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indent="0" defTabSz="889000" rtl="0" eaLnBrk="1" fontAlgn="base" latinLnBrk="0" hangingPunct="1"/>
              <a:r>
                <a:rPr lang="en-US" altLang="zh-TW" sz="10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90</a:t>
              </a:r>
              <a:r>
                <a:rPr kumimoji="0" lang="zh-TW" altLang="en-US" sz="1000" b="1" i="0" u="none" strike="noStrike" cap="none" normalizeH="0" baseline="0" dirty="0" smtClean="0">
                  <a:solidFill>
                    <a:schemeClr val="bg1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萬</a:t>
              </a:r>
              <a:endParaRPr kumimoji="0" lang="en-US" altLang="zh-TW" sz="10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indent="0" defTabSz="889000" rtl="0" eaLnBrk="1" fontAlgn="base" latinLnBrk="0" hangingPunct="1"/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(</a:t>
              </a:r>
              <a:r>
                <a:rPr lang="zh-TW" altLang="en-US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7.9%</a:t>
              </a:r>
              <a:r>
                <a:rPr lang="zh-TW" altLang="en-US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)</a:t>
              </a:r>
              <a:endParaRPr kumimoji="0" lang="zh-TW" altLang="en-US" sz="6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52" name="群組 251"/>
          <p:cNvGrpSpPr/>
          <p:nvPr/>
        </p:nvGrpSpPr>
        <p:grpSpPr>
          <a:xfrm>
            <a:off x="6263315" y="2483011"/>
            <a:ext cx="541091" cy="571546"/>
            <a:chOff x="1374176" y="2432479"/>
            <a:chExt cx="541091" cy="571546"/>
          </a:xfrm>
        </p:grpSpPr>
        <p:sp>
          <p:nvSpPr>
            <p:cNvPr id="253" name="橢圓 1"/>
            <p:cNvSpPr/>
            <p:nvPr/>
          </p:nvSpPr>
          <p:spPr bwMode="auto">
            <a:xfrm>
              <a:off x="1374176" y="2716025"/>
              <a:ext cx="541091" cy="288000"/>
            </a:xfrm>
            <a:custGeom>
              <a:avLst/>
              <a:gdLst/>
              <a:ahLst/>
              <a:cxnLst/>
              <a:rect l="l" t="t" r="r" b="b"/>
              <a:pathLst>
                <a:path w="468000" h="234000">
                  <a:moveTo>
                    <a:pt x="0" y="0"/>
                  </a:moveTo>
                  <a:lnTo>
                    <a:pt x="468000" y="0"/>
                  </a:lnTo>
                  <a:cubicBezTo>
                    <a:pt x="468000" y="129235"/>
                    <a:pt x="363235" y="234000"/>
                    <a:pt x="234000" y="234000"/>
                  </a:cubicBezTo>
                  <a:cubicBezTo>
                    <a:pt x="104765" y="234000"/>
                    <a:pt x="0" y="1292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kumimoji="0" lang="en-US" altLang="zh-TW" sz="1000" b="1" i="0" u="none" strike="noStrike" cap="none" normalizeH="0" baseline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87.1%</a:t>
              </a:r>
              <a:endParaRPr kumimoji="0" lang="zh-TW" altLang="en-US" sz="10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54" name="流程圖: 接點 9"/>
            <p:cNvSpPr/>
            <p:nvPr/>
          </p:nvSpPr>
          <p:spPr bwMode="auto">
            <a:xfrm>
              <a:off x="1374176" y="2432479"/>
              <a:ext cx="541091" cy="288000"/>
            </a:xfrm>
            <a:custGeom>
              <a:avLst/>
              <a:gdLst/>
              <a:ahLst/>
              <a:cxnLst/>
              <a:rect l="l" t="t" r="r" b="b"/>
              <a:pathLst>
                <a:path w="536631" h="253290">
                  <a:moveTo>
                    <a:pt x="268315" y="0"/>
                  </a:moveTo>
                  <a:cubicBezTo>
                    <a:pt x="411796" y="0"/>
                    <a:pt x="529137" y="111918"/>
                    <a:pt x="536631" y="253290"/>
                  </a:cubicBezTo>
                  <a:lnTo>
                    <a:pt x="0" y="253290"/>
                  </a:lnTo>
                  <a:cubicBezTo>
                    <a:pt x="7493" y="111918"/>
                    <a:pt x="124834" y="0"/>
                    <a:pt x="268315" y="0"/>
                  </a:cubicBezTo>
                  <a:close/>
                </a:path>
              </a:pathLst>
            </a:custGeom>
            <a:solidFill>
              <a:srgbClr val="00B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endParaRPr lang="en-US" altLang="zh-TW" sz="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indent="0" defTabSz="889000" rtl="0" eaLnBrk="1" fontAlgn="base" latinLnBrk="0" hangingPunct="1"/>
              <a:r>
                <a:rPr lang="en-US" altLang="zh-TW" sz="10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85</a:t>
              </a:r>
              <a:r>
                <a:rPr kumimoji="0" lang="zh-TW" altLang="en-US" sz="1000" b="1" i="0" u="none" strike="noStrike" cap="none" normalizeH="0" baseline="0" dirty="0" smtClean="0">
                  <a:solidFill>
                    <a:schemeClr val="bg1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萬</a:t>
              </a:r>
              <a:endParaRPr kumimoji="0" lang="en-US" altLang="zh-TW" sz="10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defTabSz="889000"/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(</a:t>
              </a:r>
              <a:r>
                <a:rPr lang="zh-TW" altLang="en-US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8.5%</a:t>
              </a:r>
              <a:r>
                <a:rPr lang="zh-TW" altLang="en-US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)</a:t>
              </a:r>
              <a:endParaRPr lang="zh-TW" altLang="en-US" sz="6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55" name="群組 254"/>
          <p:cNvGrpSpPr/>
          <p:nvPr/>
        </p:nvGrpSpPr>
        <p:grpSpPr>
          <a:xfrm>
            <a:off x="8079465" y="2480752"/>
            <a:ext cx="541091" cy="571546"/>
            <a:chOff x="1374176" y="2432479"/>
            <a:chExt cx="541091" cy="571546"/>
          </a:xfrm>
        </p:grpSpPr>
        <p:sp>
          <p:nvSpPr>
            <p:cNvPr id="260" name="橢圓 1"/>
            <p:cNvSpPr/>
            <p:nvPr/>
          </p:nvSpPr>
          <p:spPr bwMode="auto">
            <a:xfrm>
              <a:off x="1374176" y="2716025"/>
              <a:ext cx="541091" cy="288000"/>
            </a:xfrm>
            <a:custGeom>
              <a:avLst/>
              <a:gdLst/>
              <a:ahLst/>
              <a:cxnLst/>
              <a:rect l="l" t="t" r="r" b="b"/>
              <a:pathLst>
                <a:path w="468000" h="234000">
                  <a:moveTo>
                    <a:pt x="0" y="0"/>
                  </a:moveTo>
                  <a:lnTo>
                    <a:pt x="468000" y="0"/>
                  </a:lnTo>
                  <a:cubicBezTo>
                    <a:pt x="468000" y="129235"/>
                    <a:pt x="363235" y="234000"/>
                    <a:pt x="234000" y="234000"/>
                  </a:cubicBezTo>
                  <a:cubicBezTo>
                    <a:pt x="104765" y="234000"/>
                    <a:pt x="0" y="1292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en-US" altLang="zh-TW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90</a:t>
              </a:r>
              <a:r>
                <a:rPr kumimoji="0" lang="en-US" altLang="zh-TW" sz="1000" b="1" i="0" u="none" strike="noStrike" cap="none" normalizeH="0" baseline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.4%</a:t>
              </a:r>
              <a:endParaRPr kumimoji="0" lang="zh-TW" altLang="en-US" sz="1000" b="1" i="0" u="none" strike="noStrike" cap="none" normalizeH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61" name="流程圖: 接點 9"/>
            <p:cNvSpPr/>
            <p:nvPr/>
          </p:nvSpPr>
          <p:spPr bwMode="auto">
            <a:xfrm>
              <a:off x="1374176" y="2432479"/>
              <a:ext cx="541091" cy="288000"/>
            </a:xfrm>
            <a:custGeom>
              <a:avLst/>
              <a:gdLst/>
              <a:ahLst/>
              <a:cxnLst/>
              <a:rect l="l" t="t" r="r" b="b"/>
              <a:pathLst>
                <a:path w="536631" h="253290">
                  <a:moveTo>
                    <a:pt x="268315" y="0"/>
                  </a:moveTo>
                  <a:cubicBezTo>
                    <a:pt x="411796" y="0"/>
                    <a:pt x="529137" y="111918"/>
                    <a:pt x="536631" y="253290"/>
                  </a:cubicBezTo>
                  <a:lnTo>
                    <a:pt x="0" y="253290"/>
                  </a:lnTo>
                  <a:cubicBezTo>
                    <a:pt x="7493" y="111918"/>
                    <a:pt x="124834" y="0"/>
                    <a:pt x="268315" y="0"/>
                  </a:cubicBezTo>
                  <a:close/>
                </a:path>
              </a:pathLst>
            </a:custGeom>
            <a:solidFill>
              <a:srgbClr val="FF660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endParaRPr lang="en-US" altLang="zh-TW" sz="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0" marR="0" indent="0" defTabSz="889000" rtl="0" eaLnBrk="1" fontAlgn="base" latinLnBrk="0" hangingPunct="1"/>
              <a:r>
                <a:rPr lang="en-US" altLang="zh-TW" sz="10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29</a:t>
              </a:r>
              <a:r>
                <a:rPr kumimoji="0" lang="zh-TW" altLang="en-US" sz="1000" b="1" i="0" u="none" strike="noStrike" cap="none" normalizeH="0" baseline="0" dirty="0" smtClean="0">
                  <a:solidFill>
                    <a:schemeClr val="bg1"/>
                  </a:solidFill>
                  <a:effectLst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萬</a:t>
              </a:r>
              <a:endParaRPr kumimoji="0" lang="en-US" altLang="zh-TW" sz="1000" b="1" i="0" u="none" strike="noStrike" cap="none" normalizeH="0" baseline="0" dirty="0" smtClean="0">
                <a:solidFill>
                  <a:schemeClr val="bg1"/>
                </a:solidFill>
                <a:effectLst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defTabSz="889000"/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(</a:t>
              </a:r>
              <a:r>
                <a:rPr lang="zh-TW" altLang="en-US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5.8%</a:t>
              </a:r>
              <a:r>
                <a:rPr lang="zh-TW" altLang="en-US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600" b="1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)</a:t>
              </a:r>
              <a:endParaRPr lang="zh-TW" altLang="en-US" sz="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sp>
        <p:nvSpPr>
          <p:cNvPr id="78" name="矩形 77"/>
          <p:cNvSpPr/>
          <p:nvPr/>
        </p:nvSpPr>
        <p:spPr>
          <a:xfrm>
            <a:off x="8521175" y="2378152"/>
            <a:ext cx="1023037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altLang="zh-TW" sz="10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↑</a:t>
            </a:r>
            <a:r>
              <a:rPr lang="zh-TW" altLang="en-US" sz="10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增加</a:t>
            </a:r>
            <a:r>
              <a:rPr lang="en-US" altLang="zh-TW" sz="10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6</a:t>
            </a:r>
            <a:r>
              <a:rPr lang="zh-TW" altLang="en-US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1000" b="1" dirty="0" smtClean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endParaRPr lang="en-US" altLang="zh-TW" sz="1000" b="1" dirty="0">
              <a:solidFill>
                <a:srgbClr val="FFC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>
              <a:lnSpc>
                <a:spcPct val="150000"/>
              </a:lnSpc>
            </a:pPr>
            <a:r>
              <a:rPr lang="en-US" altLang="zh-TW" sz="10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↑</a:t>
            </a:r>
            <a:r>
              <a:rPr lang="zh-TW" altLang="en-US" sz="10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增加</a:t>
            </a:r>
            <a:r>
              <a:rPr lang="en-US" altLang="zh-TW" sz="1000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>
                <a:solidFill>
                  <a:srgbClr val="FFC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.2%</a:t>
            </a:r>
            <a:endParaRPr lang="en-US" altLang="zh-TW" sz="1000" b="1" dirty="0">
              <a:solidFill>
                <a:srgbClr val="FFC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588781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1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NAlxN9pkWJj03YnEz8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rO9e_3cEqFNMpmlXwinQ"/>
</p:tagLst>
</file>

<file path=ppt/theme/theme1.xml><?xml version="1.0" encoding="utf-8"?>
<a:theme xmlns:a="http://schemas.openxmlformats.org/drawingml/2006/main" name="blank">
  <a:themeElements>
    <a:clrScheme name="Letter Blank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bg1">
              <a:lumMod val="8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89000" rtl="0" eaLnBrk="1" fontAlgn="base" latinLnBrk="0" hangingPunct="1">
          <a:defRPr kumimoji="0" sz="14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anchor="t" anchorCtr="0" compatLnSpc="1">
        <a:prstTxWarp prst="textNoShape">
          <a:avLst/>
        </a:prstTxWarp>
        <a:spAutoFit/>
      </a:bodyPr>
      <a:lstStyle>
        <a:defPPr marL="0" marR="0" indent="0" algn="ctr" defTabSz="8890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  <a:cs typeface="+mn-cs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FC59CFA4602A49AC3BDAF1F5DD4AD1" ma:contentTypeVersion="7" ma:contentTypeDescription="Create a new document." ma:contentTypeScope="" ma:versionID="c65ba08bd50aaf5ec69a5d563d9d7160">
  <xsd:schema xmlns:xsd="http://www.w3.org/2001/XMLSchema" xmlns:p="http://schemas.microsoft.com/office/2006/metadata/properties" xmlns:ns2="614f71a7-1ffd-4a5b-b04c-721b42e4b93f" targetNamespace="http://schemas.microsoft.com/office/2006/metadata/properties" ma:root="true" ma:fieldsID="8a3eb56de8cb87a095342ef8a3972c2e" ns2:_="">
    <xsd:import namespace="614f71a7-1ffd-4a5b-b04c-721b42e4b93f"/>
    <xsd:element name="properties">
      <xsd:complexType>
        <xsd:sequence>
          <xsd:element name="documentManagement">
            <xsd:complexType>
              <xsd:all>
                <xsd:element ref="ns2:Description0" minOccurs="0"/>
                <xsd:element ref="ns2:Software" minOccurs="0"/>
                <xsd:element ref="ns2:Product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614f71a7-1ffd-4a5b-b04c-721b42e4b93f" elementFormDefault="qualified">
    <xsd:import namespace="http://schemas.microsoft.com/office/2006/documentManagement/types"/>
    <xsd:element name="Description0" ma:index="8" nillable="true" ma:displayName="Description" ma:hidden="true" ma:internalName="Description0" ma:readOnly="false">
      <xsd:simpleType>
        <xsd:restriction base="dms:Note"/>
      </xsd:simpleType>
    </xsd:element>
    <xsd:element name="Software" ma:index="9" nillable="true" ma:displayName="Software" ma:hidden="true" ma:internalName="Software" ma:readOnly="false">
      <xsd:simpleType>
        <xsd:restriction base="dms:Text">
          <xsd:maxLength value="10"/>
        </xsd:restriction>
      </xsd:simpleType>
    </xsd:element>
    <xsd:element name="Product" ma:index="10" nillable="true" ma:displayName="Product" ma:hidden="true" ma:internalName="Product" ma:readOnly="fals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xsi="http://www.w3.org/2001/XMLSchema-instance" xmlns:p="http://schemas.microsoft.com/office/2006/metadata/properties">
  <documentManagement>
    <Description0 xmlns="614f71a7-1ffd-4a5b-b04c-721b42e4b93f" xsi:nil="true"/>
    <Software xmlns="614f71a7-1ffd-4a5b-b04c-721b42e4b93f" xsi:nil="true"/>
    <Product xmlns="614f71a7-1ffd-4a5b-b04c-721b42e4b93f" xsi:nil="true"/>
  </documentManagement>
</p:properties>
</file>

<file path=customXml/itemProps1.xml><?xml version="1.0" encoding="utf-8"?>
<ds:datastoreItem xmlns:ds="http://schemas.openxmlformats.org/officeDocument/2006/customXml" ds:itemID="{46D49868-F72B-4C92-A9AD-DDB4759328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8FFBFC6-7931-4C64-B4E0-D54B44BCD9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4f71a7-1ffd-4a5b-b04c-721b42e4b93f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78D00EDC-9529-46D3-865F-ED9D69FE8672}">
  <ds:schemaRefs>
    <ds:schemaRef ds:uri="http://purl.org/dc/terms/"/>
    <ds:schemaRef ds:uri="http://schemas.microsoft.com/office/2006/documentManagement/types"/>
    <ds:schemaRef ds:uri="http://www.w3.org/XML/1998/namespace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614f71a7-1ffd-4a5b-b04c-721b42e4b93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991</Words>
  <Application>Microsoft Office PowerPoint</Application>
  <PresentationFormat>A4 紙張 (210x297 公釐)</PresentationFormat>
  <Paragraphs>1952</Paragraphs>
  <Slides>18</Slides>
  <Notes>3</Notes>
  <HiddenSlides>0</HiddenSlides>
  <MMClips>0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8</vt:i4>
      </vt:variant>
    </vt:vector>
  </HeadingPairs>
  <TitlesOfParts>
    <vt:vector size="20" baseType="lpstr">
      <vt:lpstr>blank</vt:lpstr>
      <vt:lpstr>think-cell Slide</vt:lpstr>
      <vt:lpstr>PowerPoint 簡報</vt:lpstr>
      <vt:lpstr>專案執行摘要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專案執行摘要</vt:lpstr>
      <vt:lpstr>呈請核示</vt:lpstr>
      <vt:lpstr>以上報告，呈請　同意新信貸分迭代</vt:lpstr>
      <vt:lpstr>模型研發結果：信貸風險變動分 ( 四張子卡 )</vt:lpstr>
      <vt:lpstr>模型研發結果：信貸需求分</vt:lpstr>
      <vt:lpstr>PowerPoint 簡報</vt:lpstr>
      <vt:lpstr>模型效益回測</vt:lpstr>
      <vt:lpstr>PowerPoint 簡報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6-10T02:38:07Z</dcterms:created>
  <dcterms:modified xsi:type="dcterms:W3CDTF">2020-06-01T09:08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ChinaTrust</vt:lpwstr>
  </property>
  <property fmtid="{D5CDD505-2E9C-101B-9397-08002B2CF9AE}" pid="3" name="Template Name">
    <vt:lpwstr>A4</vt:lpwstr>
  </property>
  <property fmtid="{D5CDD505-2E9C-101B-9397-08002B2CF9AE}" pid="4" name="ContentTypeId">
    <vt:lpwstr>0x01010077FC59CFA4602A49AC3BDAF1F5DD4AD1</vt:lpwstr>
  </property>
  <property fmtid="{D5CDD505-2E9C-101B-9397-08002B2CF9AE}" pid="5" name="Order">
    <vt:r8>157600</vt:r8>
  </property>
</Properties>
</file>